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17"/>
  </p:notesMasterIdLst>
  <p:sldIdLst>
    <p:sldId id="2076138536" r:id="rId3"/>
    <p:sldId id="2076138554" r:id="rId4"/>
    <p:sldId id="2147478862" r:id="rId5"/>
    <p:sldId id="2147478865" r:id="rId6"/>
    <p:sldId id="2147478863" r:id="rId7"/>
    <p:sldId id="2147478867" r:id="rId8"/>
    <p:sldId id="2147478868" r:id="rId9"/>
    <p:sldId id="2147478866" r:id="rId10"/>
    <p:sldId id="2147478838" r:id="rId11"/>
    <p:sldId id="2147478840" r:id="rId12"/>
    <p:sldId id="2147478846" r:id="rId13"/>
    <p:sldId id="2147478841" r:id="rId14"/>
    <p:sldId id="2147478847" r:id="rId15"/>
    <p:sldId id="2076138547"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3C093C-9FF4-4990-8097-3CA67163E5C2}" v="2817" dt="2024-03-22T15:29:08.1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59747" autoAdjust="0"/>
  </p:normalViewPr>
  <p:slideViewPr>
    <p:cSldViewPr snapToGrid="0">
      <p:cViewPr varScale="1">
        <p:scale>
          <a:sx n="95" d="100"/>
          <a:sy n="95" d="100"/>
        </p:scale>
        <p:origin x="2088" y="78"/>
      </p:cViewPr>
      <p:guideLst/>
    </p:cSldViewPr>
  </p:slideViewPr>
  <p:notesTextViewPr>
    <p:cViewPr>
      <p:scale>
        <a:sx n="150" d="100"/>
        <a:sy n="15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Almirante (JDA PARTNERS TECHNICAL SERVICE)" userId="11b5fb94-1827-4228-a31f-331aae5ce8b5" providerId="ADAL" clId="{3F3C093C-9FF4-4990-8097-3CA67163E5C2}"/>
    <pc:docChg chg="undo custSel addSld delSld modSld sldOrd">
      <pc:chgData name="Mark Almirante (JDA PARTNERS TECHNICAL SERVICE)" userId="11b5fb94-1827-4228-a31f-331aae5ce8b5" providerId="ADAL" clId="{3F3C093C-9FF4-4990-8097-3CA67163E5C2}" dt="2024-03-22T15:29:11.301" v="4852" actId="207"/>
      <pc:docMkLst>
        <pc:docMk/>
      </pc:docMkLst>
      <pc:sldChg chg="addSp modSp add del mod modTransition">
        <pc:chgData name="Mark Almirante (JDA PARTNERS TECHNICAL SERVICE)" userId="11b5fb94-1827-4228-a31f-331aae5ce8b5" providerId="ADAL" clId="{3F3C093C-9FF4-4990-8097-3CA67163E5C2}" dt="2024-03-15T02:12:14.983" v="3036" actId="47"/>
        <pc:sldMkLst>
          <pc:docMk/>
          <pc:sldMk cId="108036726" sldId="512"/>
        </pc:sldMkLst>
        <pc:spChg chg="mod">
          <ac:chgData name="Mark Almirante (JDA PARTNERS TECHNICAL SERVICE)" userId="11b5fb94-1827-4228-a31f-331aae5ce8b5" providerId="ADAL" clId="{3F3C093C-9FF4-4990-8097-3CA67163E5C2}" dt="2024-03-01T11:28:44.187" v="1858" actId="20577"/>
          <ac:spMkLst>
            <pc:docMk/>
            <pc:sldMk cId="108036726" sldId="512"/>
            <ac:spMk id="2" creationId="{00000000-0000-0000-0000-000000000000}"/>
          </ac:spMkLst>
        </pc:spChg>
        <pc:spChg chg="add mod">
          <ac:chgData name="Mark Almirante (JDA PARTNERS TECHNICAL SERVICE)" userId="11b5fb94-1827-4228-a31f-331aae5ce8b5" providerId="ADAL" clId="{3F3C093C-9FF4-4990-8097-3CA67163E5C2}" dt="2024-03-01T14:00:55.894" v="2093" actId="1076"/>
          <ac:spMkLst>
            <pc:docMk/>
            <pc:sldMk cId="108036726" sldId="512"/>
            <ac:spMk id="4" creationId="{81716DAB-943D-2E81-7BC3-0C283010FA68}"/>
          </ac:spMkLst>
        </pc:spChg>
        <pc:graphicFrameChg chg="mod modGraphic">
          <ac:chgData name="Mark Almirante (JDA PARTNERS TECHNICAL SERVICE)" userId="11b5fb94-1827-4228-a31f-331aae5ce8b5" providerId="ADAL" clId="{3F3C093C-9FF4-4990-8097-3CA67163E5C2}" dt="2024-03-01T14:00:36.686" v="2089" actId="1076"/>
          <ac:graphicFrameMkLst>
            <pc:docMk/>
            <pc:sldMk cId="108036726" sldId="512"/>
            <ac:graphicFrameMk id="3" creationId="{8C5A161C-459C-47E2-A87D-EE120BBEB10F}"/>
          </ac:graphicFrameMkLst>
        </pc:graphicFrameChg>
      </pc:sldChg>
      <pc:sldChg chg="modSp add del mod">
        <pc:chgData name="Mark Almirante (JDA PARTNERS TECHNICAL SERVICE)" userId="11b5fb94-1827-4228-a31f-331aae5ce8b5" providerId="ADAL" clId="{3F3C093C-9FF4-4990-8097-3CA67163E5C2}" dt="2024-03-01T03:54:12.529" v="1561" actId="2696"/>
        <pc:sldMkLst>
          <pc:docMk/>
          <pc:sldMk cId="2554929962" sldId="1496"/>
        </pc:sldMkLst>
        <pc:spChg chg="mod">
          <ac:chgData name="Mark Almirante (JDA PARTNERS TECHNICAL SERVICE)" userId="11b5fb94-1827-4228-a31f-331aae5ce8b5" providerId="ADAL" clId="{3F3C093C-9FF4-4990-8097-3CA67163E5C2}" dt="2024-03-01T01:09:15.102" v="147" actId="207"/>
          <ac:spMkLst>
            <pc:docMk/>
            <pc:sldMk cId="2554929962" sldId="1496"/>
            <ac:spMk id="4" creationId="{00000000-0000-0000-0000-000000000000}"/>
          </ac:spMkLst>
        </pc:spChg>
        <pc:graphicFrameChg chg="mod modGraphic">
          <ac:chgData name="Mark Almirante (JDA PARTNERS TECHNICAL SERVICE)" userId="11b5fb94-1827-4228-a31f-331aae5ce8b5" providerId="ADAL" clId="{3F3C093C-9FF4-4990-8097-3CA67163E5C2}" dt="2024-03-01T02:36:37.967" v="209" actId="20577"/>
          <ac:graphicFrameMkLst>
            <pc:docMk/>
            <pc:sldMk cId="2554929962" sldId="1496"/>
            <ac:graphicFrameMk id="2" creationId="{5C134E13-E15B-4D97-80E7-EE03878EB658}"/>
          </ac:graphicFrameMkLst>
        </pc:graphicFrameChg>
      </pc:sldChg>
      <pc:sldChg chg="modSp add del mod">
        <pc:chgData name="Mark Almirante (JDA PARTNERS TECHNICAL SERVICE)" userId="11b5fb94-1827-4228-a31f-331aae5ce8b5" providerId="ADAL" clId="{3F3C093C-9FF4-4990-8097-3CA67163E5C2}" dt="2024-03-15T02:12:14.983" v="3036" actId="47"/>
        <pc:sldMkLst>
          <pc:docMk/>
          <pc:sldMk cId="2688822629" sldId="1498"/>
        </pc:sldMkLst>
        <pc:spChg chg="mod">
          <ac:chgData name="Mark Almirante (JDA PARTNERS TECHNICAL SERVICE)" userId="11b5fb94-1827-4228-a31f-331aae5ce8b5" providerId="ADAL" clId="{3F3C093C-9FF4-4990-8097-3CA67163E5C2}" dt="2024-03-01T11:13:36.750" v="1770" actId="20577"/>
          <ac:spMkLst>
            <pc:docMk/>
            <pc:sldMk cId="2688822629" sldId="1498"/>
            <ac:spMk id="3" creationId="{00000000-0000-0000-0000-000000000000}"/>
          </ac:spMkLst>
        </pc:spChg>
        <pc:graphicFrameChg chg="mod">
          <ac:chgData name="Mark Almirante (JDA PARTNERS TECHNICAL SERVICE)" userId="11b5fb94-1827-4228-a31f-331aae5ce8b5" providerId="ADAL" clId="{3F3C093C-9FF4-4990-8097-3CA67163E5C2}" dt="2024-03-01T03:59:14.602" v="1639" actId="207"/>
          <ac:graphicFrameMkLst>
            <pc:docMk/>
            <pc:sldMk cId="2688822629" sldId="1498"/>
            <ac:graphicFrameMk id="4" creationId="{0FA377F3-E488-4F45-BF29-6E607702DF83}"/>
          </ac:graphicFrameMkLst>
        </pc:graphicFrameChg>
      </pc:sldChg>
      <pc:sldChg chg="modSp add del mod">
        <pc:chgData name="Mark Almirante (JDA PARTNERS TECHNICAL SERVICE)" userId="11b5fb94-1827-4228-a31f-331aae5ce8b5" providerId="ADAL" clId="{3F3C093C-9FF4-4990-8097-3CA67163E5C2}" dt="2024-03-15T02:12:14.983" v="3036" actId="47"/>
        <pc:sldMkLst>
          <pc:docMk/>
          <pc:sldMk cId="1708757965" sldId="1535"/>
        </pc:sldMkLst>
        <pc:spChg chg="mod">
          <ac:chgData name="Mark Almirante (JDA PARTNERS TECHNICAL SERVICE)" userId="11b5fb94-1827-4228-a31f-331aae5ce8b5" providerId="ADAL" clId="{3F3C093C-9FF4-4990-8097-3CA67163E5C2}" dt="2024-03-01T04:00:35.906" v="1641" actId="207"/>
          <ac:spMkLst>
            <pc:docMk/>
            <pc:sldMk cId="1708757965" sldId="1535"/>
            <ac:spMk id="7" creationId="{00000000-0000-0000-0000-000000000000}"/>
          </ac:spMkLst>
        </pc:spChg>
        <pc:graphicFrameChg chg="mod">
          <ac:chgData name="Mark Almirante (JDA PARTNERS TECHNICAL SERVICE)" userId="11b5fb94-1827-4228-a31f-331aae5ce8b5" providerId="ADAL" clId="{3F3C093C-9FF4-4990-8097-3CA67163E5C2}" dt="2024-03-01T04:00:54.975" v="1643" actId="207"/>
          <ac:graphicFrameMkLst>
            <pc:docMk/>
            <pc:sldMk cId="1708757965" sldId="1535"/>
            <ac:graphicFrameMk id="2" creationId="{69E14DDC-DD3E-494F-BA44-6C3034737461}"/>
          </ac:graphicFrameMkLst>
        </pc:graphicFrameChg>
      </pc:sldChg>
      <pc:sldChg chg="addSp delSp modSp add del mod modNotesTx">
        <pc:chgData name="Mark Almirante (JDA PARTNERS TECHNICAL SERVICE)" userId="11b5fb94-1827-4228-a31f-331aae5ce8b5" providerId="ADAL" clId="{3F3C093C-9FF4-4990-8097-3CA67163E5C2}" dt="2024-03-15T02:12:14.983" v="3036" actId="47"/>
        <pc:sldMkLst>
          <pc:docMk/>
          <pc:sldMk cId="51937853" sldId="1550"/>
        </pc:sldMkLst>
        <pc:spChg chg="del">
          <ac:chgData name="Mark Almirante (JDA PARTNERS TECHNICAL SERVICE)" userId="11b5fb94-1827-4228-a31f-331aae5ce8b5" providerId="ADAL" clId="{3F3C093C-9FF4-4990-8097-3CA67163E5C2}" dt="2024-03-01T04:05:41.242" v="1684" actId="478"/>
          <ac:spMkLst>
            <pc:docMk/>
            <pc:sldMk cId="51937853" sldId="1550"/>
            <ac:spMk id="3" creationId="{00000000-0000-0000-0000-000000000000}"/>
          </ac:spMkLst>
        </pc:spChg>
        <pc:spChg chg="add mod">
          <ac:chgData name="Mark Almirante (JDA PARTNERS TECHNICAL SERVICE)" userId="11b5fb94-1827-4228-a31f-331aae5ce8b5" providerId="ADAL" clId="{3F3C093C-9FF4-4990-8097-3CA67163E5C2}" dt="2024-03-01T11:28:21.434" v="1856" actId="20577"/>
          <ac:spMkLst>
            <pc:docMk/>
            <pc:sldMk cId="51937853" sldId="1550"/>
            <ac:spMk id="4" creationId="{D0E9D7DC-0AD9-D18A-5573-E9EF935B342E}"/>
          </ac:spMkLst>
        </pc:spChg>
        <pc:spChg chg="add del">
          <ac:chgData name="Mark Almirante (JDA PARTNERS TECHNICAL SERVICE)" userId="11b5fb94-1827-4228-a31f-331aae5ce8b5" providerId="ADAL" clId="{3F3C093C-9FF4-4990-8097-3CA67163E5C2}" dt="2024-03-01T04:06:39.079" v="1697" actId="22"/>
          <ac:spMkLst>
            <pc:docMk/>
            <pc:sldMk cId="51937853" sldId="1550"/>
            <ac:spMk id="6" creationId="{A7268CA7-7D98-0C05-6FFB-D0BBC3D522E9}"/>
          </ac:spMkLst>
        </pc:spChg>
        <pc:spChg chg="add del mod">
          <ac:chgData name="Mark Almirante (JDA PARTNERS TECHNICAL SERVICE)" userId="11b5fb94-1827-4228-a31f-331aae5ce8b5" providerId="ADAL" clId="{3F3C093C-9FF4-4990-8097-3CA67163E5C2}" dt="2024-03-01T12:25:32.719" v="1872" actId="478"/>
          <ac:spMkLst>
            <pc:docMk/>
            <pc:sldMk cId="51937853" sldId="1550"/>
            <ac:spMk id="7" creationId="{37DD44CB-BC02-1FE1-A2A3-59698B72F730}"/>
          </ac:spMkLst>
        </pc:spChg>
        <pc:spChg chg="del mod">
          <ac:chgData name="Mark Almirante (JDA PARTNERS TECHNICAL SERVICE)" userId="11b5fb94-1827-4228-a31f-331aae5ce8b5" providerId="ADAL" clId="{3F3C093C-9FF4-4990-8097-3CA67163E5C2}" dt="2024-03-01T12:24:14.931" v="1868" actId="478"/>
          <ac:spMkLst>
            <pc:docMk/>
            <pc:sldMk cId="51937853" sldId="1550"/>
            <ac:spMk id="10" creationId="{812992D7-D09D-440E-8DE5-1797B0F27C5D}"/>
          </ac:spMkLst>
        </pc:spChg>
        <pc:spChg chg="add mod">
          <ac:chgData name="Mark Almirante (JDA PARTNERS TECHNICAL SERVICE)" userId="11b5fb94-1827-4228-a31f-331aae5ce8b5" providerId="ADAL" clId="{3F3C093C-9FF4-4990-8097-3CA67163E5C2}" dt="2024-03-01T13:55:08.169" v="1940" actId="14100"/>
          <ac:spMkLst>
            <pc:docMk/>
            <pc:sldMk cId="51937853" sldId="1550"/>
            <ac:spMk id="13" creationId="{66791852-061D-925B-7545-94BADD1ECE5B}"/>
          </ac:spMkLst>
        </pc:spChg>
        <pc:spChg chg="add mod">
          <ac:chgData name="Mark Almirante (JDA PARTNERS TECHNICAL SERVICE)" userId="11b5fb94-1827-4228-a31f-331aae5ce8b5" providerId="ADAL" clId="{3F3C093C-9FF4-4990-8097-3CA67163E5C2}" dt="2024-03-01T13:55:13.118" v="1941" actId="403"/>
          <ac:spMkLst>
            <pc:docMk/>
            <pc:sldMk cId="51937853" sldId="1550"/>
            <ac:spMk id="20" creationId="{37CF5B28-300F-8069-165A-749F14EE8997}"/>
          </ac:spMkLst>
        </pc:spChg>
        <pc:spChg chg="mod">
          <ac:chgData name="Mark Almirante (JDA PARTNERS TECHNICAL SERVICE)" userId="11b5fb94-1827-4228-a31f-331aae5ce8b5" providerId="ADAL" clId="{3F3C093C-9FF4-4990-8097-3CA67163E5C2}" dt="2024-03-01T04:10:05.383" v="1739" actId="207"/>
          <ac:spMkLst>
            <pc:docMk/>
            <pc:sldMk cId="51937853" sldId="1550"/>
            <ac:spMk id="28" creationId="{F7386285-8275-4DE3-84F0-5D12B5FBF37C}"/>
          </ac:spMkLst>
        </pc:spChg>
        <pc:spChg chg="mod">
          <ac:chgData name="Mark Almirante (JDA PARTNERS TECHNICAL SERVICE)" userId="11b5fb94-1827-4228-a31f-331aae5ce8b5" providerId="ADAL" clId="{3F3C093C-9FF4-4990-8097-3CA67163E5C2}" dt="2024-03-01T04:10:10.063" v="1740" actId="108"/>
          <ac:spMkLst>
            <pc:docMk/>
            <pc:sldMk cId="51937853" sldId="1550"/>
            <ac:spMk id="29" creationId="{5C18D1A0-24FE-417E-9704-F0081B05CC60}"/>
          </ac:spMkLst>
        </pc:spChg>
        <pc:spChg chg="mod">
          <ac:chgData name="Mark Almirante (JDA PARTNERS TECHNICAL SERVICE)" userId="11b5fb94-1827-4228-a31f-331aae5ce8b5" providerId="ADAL" clId="{3F3C093C-9FF4-4990-8097-3CA67163E5C2}" dt="2024-03-01T04:10:15.379" v="1741" actId="108"/>
          <ac:spMkLst>
            <pc:docMk/>
            <pc:sldMk cId="51937853" sldId="1550"/>
            <ac:spMk id="30" creationId="{4144FB25-5F66-4958-A8EE-53BE064BCD7A}"/>
          </ac:spMkLst>
        </pc:spChg>
        <pc:spChg chg="mod">
          <ac:chgData name="Mark Almirante (JDA PARTNERS TECHNICAL SERVICE)" userId="11b5fb94-1827-4228-a31f-331aae5ce8b5" providerId="ADAL" clId="{3F3C093C-9FF4-4990-8097-3CA67163E5C2}" dt="2024-03-01T04:09:21.552" v="1729" actId="207"/>
          <ac:spMkLst>
            <pc:docMk/>
            <pc:sldMk cId="51937853" sldId="1550"/>
            <ac:spMk id="31" creationId="{A3948E0C-EFC5-4858-B2EA-B1262B11A979}"/>
          </ac:spMkLst>
        </pc:spChg>
        <pc:spChg chg="mod">
          <ac:chgData name="Mark Almirante (JDA PARTNERS TECHNICAL SERVICE)" userId="11b5fb94-1827-4228-a31f-331aae5ce8b5" providerId="ADAL" clId="{3F3C093C-9FF4-4990-8097-3CA67163E5C2}" dt="2024-03-01T04:09:35.133" v="1734" actId="108"/>
          <ac:spMkLst>
            <pc:docMk/>
            <pc:sldMk cId="51937853" sldId="1550"/>
            <ac:spMk id="32" creationId="{13F72CFA-987B-4497-962B-BFD4C1E977E3}"/>
          </ac:spMkLst>
        </pc:spChg>
        <pc:spChg chg="mod">
          <ac:chgData name="Mark Almirante (JDA PARTNERS TECHNICAL SERVICE)" userId="11b5fb94-1827-4228-a31f-331aae5ce8b5" providerId="ADAL" clId="{3F3C093C-9FF4-4990-8097-3CA67163E5C2}" dt="2024-03-01T04:09:26.436" v="1730" actId="108"/>
          <ac:spMkLst>
            <pc:docMk/>
            <pc:sldMk cId="51937853" sldId="1550"/>
            <ac:spMk id="39" creationId="{B68F64D0-F889-4043-8063-C24CF5C5694F}"/>
          </ac:spMkLst>
        </pc:spChg>
        <pc:spChg chg="mod">
          <ac:chgData name="Mark Almirante (JDA PARTNERS TECHNICAL SERVICE)" userId="11b5fb94-1827-4228-a31f-331aae5ce8b5" providerId="ADAL" clId="{3F3C093C-9FF4-4990-8097-3CA67163E5C2}" dt="2024-03-01T04:09:43.136" v="1737" actId="108"/>
          <ac:spMkLst>
            <pc:docMk/>
            <pc:sldMk cId="51937853" sldId="1550"/>
            <ac:spMk id="40" creationId="{5190F655-9D5F-483B-B53B-9B10C3E6BFCE}"/>
          </ac:spMkLst>
        </pc:spChg>
        <pc:spChg chg="mod">
          <ac:chgData name="Mark Almirante (JDA PARTNERS TECHNICAL SERVICE)" userId="11b5fb94-1827-4228-a31f-331aae5ce8b5" providerId="ADAL" clId="{3F3C093C-9FF4-4990-8097-3CA67163E5C2}" dt="2024-03-01T04:09:40.575" v="1736" actId="108"/>
          <ac:spMkLst>
            <pc:docMk/>
            <pc:sldMk cId="51937853" sldId="1550"/>
            <ac:spMk id="41" creationId="{CFB2DE08-CF9E-4E4F-ACC9-DB2AF7058FA1}"/>
          </ac:spMkLst>
        </pc:spChg>
        <pc:spChg chg="mod">
          <ac:chgData name="Mark Almirante (JDA PARTNERS TECHNICAL SERVICE)" userId="11b5fb94-1827-4228-a31f-331aae5ce8b5" providerId="ADAL" clId="{3F3C093C-9FF4-4990-8097-3CA67163E5C2}" dt="2024-03-01T04:09:37.664" v="1735" actId="108"/>
          <ac:spMkLst>
            <pc:docMk/>
            <pc:sldMk cId="51937853" sldId="1550"/>
            <ac:spMk id="42" creationId="{B5A36C20-7A63-41A9-8930-088E1DB6A996}"/>
          </ac:spMkLst>
        </pc:spChg>
        <pc:spChg chg="mod">
          <ac:chgData name="Mark Almirante (JDA PARTNERS TECHNICAL SERVICE)" userId="11b5fb94-1827-4228-a31f-331aae5ce8b5" providerId="ADAL" clId="{3F3C093C-9FF4-4990-8097-3CA67163E5C2}" dt="2024-03-01T04:09:29.440" v="1731" actId="108"/>
          <ac:spMkLst>
            <pc:docMk/>
            <pc:sldMk cId="51937853" sldId="1550"/>
            <ac:spMk id="43" creationId="{156DC059-0289-42DF-9AF6-F67C90CAEE79}"/>
          </ac:spMkLst>
        </pc:spChg>
        <pc:spChg chg="mod">
          <ac:chgData name="Mark Almirante (JDA PARTNERS TECHNICAL SERVICE)" userId="11b5fb94-1827-4228-a31f-331aae5ce8b5" providerId="ADAL" clId="{3F3C093C-9FF4-4990-8097-3CA67163E5C2}" dt="2024-03-01T12:23:46.636" v="1864" actId="207"/>
          <ac:spMkLst>
            <pc:docMk/>
            <pc:sldMk cId="51937853" sldId="1550"/>
            <ac:spMk id="44" creationId="{4A152612-7ECF-4DD4-95E8-395185F051E6}"/>
          </ac:spMkLst>
        </pc:spChg>
        <pc:spChg chg="mod">
          <ac:chgData name="Mark Almirante (JDA PARTNERS TECHNICAL SERVICE)" userId="11b5fb94-1827-4228-a31f-331aae5ce8b5" providerId="ADAL" clId="{3F3C093C-9FF4-4990-8097-3CA67163E5C2}" dt="2024-03-01T12:23:52.304" v="1865" actId="207"/>
          <ac:spMkLst>
            <pc:docMk/>
            <pc:sldMk cId="51937853" sldId="1550"/>
            <ac:spMk id="45" creationId="{75E2F568-F439-40E0-A59A-AE4D016C2F8E}"/>
          </ac:spMkLst>
        </pc:spChg>
        <pc:spChg chg="mod">
          <ac:chgData name="Mark Almirante (JDA PARTNERS TECHNICAL SERVICE)" userId="11b5fb94-1827-4228-a31f-331aae5ce8b5" providerId="ADAL" clId="{3F3C093C-9FF4-4990-8097-3CA67163E5C2}" dt="2024-03-01T12:23:57.464" v="1866" actId="207"/>
          <ac:spMkLst>
            <pc:docMk/>
            <pc:sldMk cId="51937853" sldId="1550"/>
            <ac:spMk id="46" creationId="{9D847284-253B-45B2-AD82-2AB9BCF87087}"/>
          </ac:spMkLst>
        </pc:spChg>
        <pc:cxnChg chg="add mod">
          <ac:chgData name="Mark Almirante (JDA PARTNERS TECHNICAL SERVICE)" userId="11b5fb94-1827-4228-a31f-331aae5ce8b5" providerId="ADAL" clId="{3F3C093C-9FF4-4990-8097-3CA67163E5C2}" dt="2024-03-01T13:55:08.169" v="1940" actId="14100"/>
          <ac:cxnSpMkLst>
            <pc:docMk/>
            <pc:sldMk cId="51937853" sldId="1550"/>
            <ac:cxnSpMk id="9" creationId="{396F0B2E-AAC3-03B9-4170-0F91E69F15F3}"/>
          </ac:cxnSpMkLst>
        </pc:cxnChg>
        <pc:cxnChg chg="add mod">
          <ac:chgData name="Mark Almirante (JDA PARTNERS TECHNICAL SERVICE)" userId="11b5fb94-1827-4228-a31f-331aae5ce8b5" providerId="ADAL" clId="{3F3C093C-9FF4-4990-8097-3CA67163E5C2}" dt="2024-03-01T12:29:23.939" v="1919" actId="1582"/>
          <ac:cxnSpMkLst>
            <pc:docMk/>
            <pc:sldMk cId="51937853" sldId="1550"/>
            <ac:cxnSpMk id="22" creationId="{B836E1BD-9ACF-F6F1-725F-4ACAEA0FC390}"/>
          </ac:cxnSpMkLst>
        </pc:cxnChg>
        <pc:cxnChg chg="mod">
          <ac:chgData name="Mark Almirante (JDA PARTNERS TECHNICAL SERVICE)" userId="11b5fb94-1827-4228-a31f-331aae5ce8b5" providerId="ADAL" clId="{3F3C093C-9FF4-4990-8097-3CA67163E5C2}" dt="2024-03-01T04:08:57.857" v="1723" actId="208"/>
          <ac:cxnSpMkLst>
            <pc:docMk/>
            <pc:sldMk cId="51937853" sldId="1550"/>
            <ac:cxnSpMk id="33" creationId="{265A2689-E6C6-4A7C-BC2E-81F9D293441A}"/>
          </ac:cxnSpMkLst>
        </pc:cxnChg>
        <pc:cxnChg chg="mod">
          <ac:chgData name="Mark Almirante (JDA PARTNERS TECHNICAL SERVICE)" userId="11b5fb94-1827-4228-a31f-331aae5ce8b5" providerId="ADAL" clId="{3F3C093C-9FF4-4990-8097-3CA67163E5C2}" dt="2024-03-01T04:09:04.799" v="1725" actId="108"/>
          <ac:cxnSpMkLst>
            <pc:docMk/>
            <pc:sldMk cId="51937853" sldId="1550"/>
            <ac:cxnSpMk id="34" creationId="{5BF75EF2-BFBC-47AF-82A5-678AB053EC43}"/>
          </ac:cxnSpMkLst>
        </pc:cxnChg>
        <pc:cxnChg chg="mod">
          <ac:chgData name="Mark Almirante (JDA PARTNERS TECHNICAL SERVICE)" userId="11b5fb94-1827-4228-a31f-331aae5ce8b5" providerId="ADAL" clId="{3F3C093C-9FF4-4990-8097-3CA67163E5C2}" dt="2024-03-01T04:09:06.323" v="1726" actId="108"/>
          <ac:cxnSpMkLst>
            <pc:docMk/>
            <pc:sldMk cId="51937853" sldId="1550"/>
            <ac:cxnSpMk id="35" creationId="{B5AB4B11-30FB-424B-9708-C94A63D2F5A6}"/>
          </ac:cxnSpMkLst>
        </pc:cxnChg>
        <pc:cxnChg chg="mod">
          <ac:chgData name="Mark Almirante (JDA PARTNERS TECHNICAL SERVICE)" userId="11b5fb94-1827-4228-a31f-331aae5ce8b5" providerId="ADAL" clId="{3F3C093C-9FF4-4990-8097-3CA67163E5C2}" dt="2024-03-01T04:08:47.684" v="1721" actId="208"/>
          <ac:cxnSpMkLst>
            <pc:docMk/>
            <pc:sldMk cId="51937853" sldId="1550"/>
            <ac:cxnSpMk id="36" creationId="{10058B89-DF3A-45DE-B40A-9AAC923BEC68}"/>
          </ac:cxnSpMkLst>
        </pc:cxnChg>
        <pc:cxnChg chg="mod">
          <ac:chgData name="Mark Almirante (JDA PARTNERS TECHNICAL SERVICE)" userId="11b5fb94-1827-4228-a31f-331aae5ce8b5" providerId="ADAL" clId="{3F3C093C-9FF4-4990-8097-3CA67163E5C2}" dt="2024-03-01T04:09:01.437" v="1724" actId="208"/>
          <ac:cxnSpMkLst>
            <pc:docMk/>
            <pc:sldMk cId="51937853" sldId="1550"/>
            <ac:cxnSpMk id="37" creationId="{5994C78D-99CE-4354-90F1-D9C1A6AE94A5}"/>
          </ac:cxnSpMkLst>
        </pc:cxnChg>
        <pc:cxnChg chg="mod">
          <ac:chgData name="Mark Almirante (JDA PARTNERS TECHNICAL SERVICE)" userId="11b5fb94-1827-4228-a31f-331aae5ce8b5" providerId="ADAL" clId="{3F3C093C-9FF4-4990-8097-3CA67163E5C2}" dt="2024-03-01T04:08:52.580" v="1722" actId="208"/>
          <ac:cxnSpMkLst>
            <pc:docMk/>
            <pc:sldMk cId="51937853" sldId="1550"/>
            <ac:cxnSpMk id="38" creationId="{C0D4D7AC-042B-4B08-B45F-994D70570045}"/>
          </ac:cxnSpMkLst>
        </pc:cxnChg>
      </pc:sldChg>
      <pc:sldChg chg="modSp add del mod modNotesTx">
        <pc:chgData name="Mark Almirante (JDA PARTNERS TECHNICAL SERVICE)" userId="11b5fb94-1827-4228-a31f-331aae5ce8b5" providerId="ADAL" clId="{3F3C093C-9FF4-4990-8097-3CA67163E5C2}" dt="2024-03-15T02:12:14.983" v="3036" actId="47"/>
        <pc:sldMkLst>
          <pc:docMk/>
          <pc:sldMk cId="3364553099" sldId="1685"/>
        </pc:sldMkLst>
        <pc:spChg chg="mod">
          <ac:chgData name="Mark Almirante (JDA PARTNERS TECHNICAL SERVICE)" userId="11b5fb94-1827-4228-a31f-331aae5ce8b5" providerId="ADAL" clId="{3F3C093C-9FF4-4990-8097-3CA67163E5C2}" dt="2024-03-01T00:03:44.229" v="78" actId="1076"/>
          <ac:spMkLst>
            <pc:docMk/>
            <pc:sldMk cId="3364553099" sldId="1685"/>
            <ac:spMk id="2" creationId="{E4817FC7-7249-226A-CE23-0CD08883A635}"/>
          </ac:spMkLst>
        </pc:spChg>
        <pc:spChg chg="mod">
          <ac:chgData name="Mark Almirante (JDA PARTNERS TECHNICAL SERVICE)" userId="11b5fb94-1827-4228-a31f-331aae5ce8b5" providerId="ADAL" clId="{3F3C093C-9FF4-4990-8097-3CA67163E5C2}" dt="2024-03-01T00:05:20" v="79" actId="207"/>
          <ac:spMkLst>
            <pc:docMk/>
            <pc:sldMk cId="3364553099" sldId="1685"/>
            <ac:spMk id="92" creationId="{D4A4036A-10FE-4408-ABE5-271DD01B79D5}"/>
          </ac:spMkLst>
        </pc:spChg>
      </pc:sldChg>
      <pc:sldChg chg="modSp add del mod">
        <pc:chgData name="Mark Almirante (JDA PARTNERS TECHNICAL SERVICE)" userId="11b5fb94-1827-4228-a31f-331aae5ce8b5" providerId="ADAL" clId="{3F3C093C-9FF4-4990-8097-3CA67163E5C2}" dt="2024-03-15T02:12:14.983" v="3036" actId="47"/>
        <pc:sldMkLst>
          <pc:docMk/>
          <pc:sldMk cId="1955705466" sldId="1698"/>
        </pc:sldMkLst>
        <pc:spChg chg="mod">
          <ac:chgData name="Mark Almirante (JDA PARTNERS TECHNICAL SERVICE)" userId="11b5fb94-1827-4228-a31f-331aae5ce8b5" providerId="ADAL" clId="{3F3C093C-9FF4-4990-8097-3CA67163E5C2}" dt="2024-03-01T03:58:28.551" v="1617" actId="20577"/>
          <ac:spMkLst>
            <pc:docMk/>
            <pc:sldMk cId="1955705466" sldId="1698"/>
            <ac:spMk id="3" creationId="{BF2AD504-992B-D3D9-5EE5-CCF34E0E4429}"/>
          </ac:spMkLst>
        </pc:spChg>
        <pc:spChg chg="mod">
          <ac:chgData name="Mark Almirante (JDA PARTNERS TECHNICAL SERVICE)" userId="11b5fb94-1827-4228-a31f-331aae5ce8b5" providerId="ADAL" clId="{3F3C093C-9FF4-4990-8097-3CA67163E5C2}" dt="2024-03-01T00:45:31.484" v="119" actId="1076"/>
          <ac:spMkLst>
            <pc:docMk/>
            <pc:sldMk cId="1955705466" sldId="1698"/>
            <ac:spMk id="69" creationId="{4488B90F-B10B-D9B5-3258-D83C1451AD0E}"/>
          </ac:spMkLst>
        </pc:spChg>
        <pc:spChg chg="mod">
          <ac:chgData name="Mark Almirante (JDA PARTNERS TECHNICAL SERVICE)" userId="11b5fb94-1827-4228-a31f-331aae5ce8b5" providerId="ADAL" clId="{3F3C093C-9FF4-4990-8097-3CA67163E5C2}" dt="2024-03-01T00:45:57.486" v="140" actId="1076"/>
          <ac:spMkLst>
            <pc:docMk/>
            <pc:sldMk cId="1955705466" sldId="1698"/>
            <ac:spMk id="71" creationId="{E3F8FA18-C120-2E61-5A7D-B22F6902C6F0}"/>
          </ac:spMkLst>
        </pc:spChg>
        <pc:spChg chg="mod">
          <ac:chgData name="Mark Almirante (JDA PARTNERS TECHNICAL SERVICE)" userId="11b5fb94-1827-4228-a31f-331aae5ce8b5" providerId="ADAL" clId="{3F3C093C-9FF4-4990-8097-3CA67163E5C2}" dt="2024-03-01T00:39:51.108" v="101" actId="207"/>
          <ac:spMkLst>
            <pc:docMk/>
            <pc:sldMk cId="1955705466" sldId="1698"/>
            <ac:spMk id="72" creationId="{0C25C77F-F157-0050-5CC0-BAD9072C4BF2}"/>
          </ac:spMkLst>
        </pc:spChg>
        <pc:spChg chg="mod">
          <ac:chgData name="Mark Almirante (JDA PARTNERS TECHNICAL SERVICE)" userId="11b5fb94-1827-4228-a31f-331aae5ce8b5" providerId="ADAL" clId="{3F3C093C-9FF4-4990-8097-3CA67163E5C2}" dt="2024-03-01T00:07:08.511" v="94" actId="207"/>
          <ac:spMkLst>
            <pc:docMk/>
            <pc:sldMk cId="1955705466" sldId="1698"/>
            <ac:spMk id="77" creationId="{AA5595E1-E7B3-BE56-E744-81A9E043D8F7}"/>
          </ac:spMkLst>
        </pc:spChg>
        <pc:spChg chg="mod">
          <ac:chgData name="Mark Almirante (JDA PARTNERS TECHNICAL SERVICE)" userId="11b5fb94-1827-4228-a31f-331aae5ce8b5" providerId="ADAL" clId="{3F3C093C-9FF4-4990-8097-3CA67163E5C2}" dt="2024-03-01T00:44:58.794" v="108" actId="1076"/>
          <ac:spMkLst>
            <pc:docMk/>
            <pc:sldMk cId="1955705466" sldId="1698"/>
            <ac:spMk id="156" creationId="{3616D9E0-9C7B-7065-E8D1-187F4408DF77}"/>
          </ac:spMkLst>
        </pc:spChg>
        <pc:cxnChg chg="mod">
          <ac:chgData name="Mark Almirante (JDA PARTNERS TECHNICAL SERVICE)" userId="11b5fb94-1827-4228-a31f-331aae5ce8b5" providerId="ADAL" clId="{3F3C093C-9FF4-4990-8097-3CA67163E5C2}" dt="2024-03-01T00:40:27.910" v="103" actId="208"/>
          <ac:cxnSpMkLst>
            <pc:docMk/>
            <pc:sldMk cId="1955705466" sldId="1698"/>
            <ac:cxnSpMk id="61" creationId="{6A8F015D-5496-8C71-DFA2-A977F219822F}"/>
          </ac:cxnSpMkLst>
        </pc:cxnChg>
        <pc:cxnChg chg="mod">
          <ac:chgData name="Mark Almirante (JDA PARTNERS TECHNICAL SERVICE)" userId="11b5fb94-1827-4228-a31f-331aae5ce8b5" providerId="ADAL" clId="{3F3C093C-9FF4-4990-8097-3CA67163E5C2}" dt="2024-03-01T00:40:27.910" v="103" actId="208"/>
          <ac:cxnSpMkLst>
            <pc:docMk/>
            <pc:sldMk cId="1955705466" sldId="1698"/>
            <ac:cxnSpMk id="62" creationId="{2418A755-D02D-499D-722E-50E42E03E478}"/>
          </ac:cxnSpMkLst>
        </pc:cxnChg>
        <pc:cxnChg chg="mod">
          <ac:chgData name="Mark Almirante (JDA PARTNERS TECHNICAL SERVICE)" userId="11b5fb94-1827-4228-a31f-331aae5ce8b5" providerId="ADAL" clId="{3F3C093C-9FF4-4990-8097-3CA67163E5C2}" dt="2024-03-01T00:40:27.910" v="103" actId="208"/>
          <ac:cxnSpMkLst>
            <pc:docMk/>
            <pc:sldMk cId="1955705466" sldId="1698"/>
            <ac:cxnSpMk id="63" creationId="{C99A2DD3-CE4C-E1DF-AAC8-E5BE4EE89AD5}"/>
          </ac:cxnSpMkLst>
        </pc:cxnChg>
        <pc:cxnChg chg="mod">
          <ac:chgData name="Mark Almirante (JDA PARTNERS TECHNICAL SERVICE)" userId="11b5fb94-1827-4228-a31f-331aae5ce8b5" providerId="ADAL" clId="{3F3C093C-9FF4-4990-8097-3CA67163E5C2}" dt="2024-03-01T00:40:27.910" v="103" actId="208"/>
          <ac:cxnSpMkLst>
            <pc:docMk/>
            <pc:sldMk cId="1955705466" sldId="1698"/>
            <ac:cxnSpMk id="64" creationId="{EA7734A5-AF28-4C53-5AEB-71C42923C966}"/>
          </ac:cxnSpMkLst>
        </pc:cxnChg>
        <pc:cxnChg chg="mod">
          <ac:chgData name="Mark Almirante (JDA PARTNERS TECHNICAL SERVICE)" userId="11b5fb94-1827-4228-a31f-331aae5ce8b5" providerId="ADAL" clId="{3F3C093C-9FF4-4990-8097-3CA67163E5C2}" dt="2024-03-01T00:40:27.910" v="103" actId="208"/>
          <ac:cxnSpMkLst>
            <pc:docMk/>
            <pc:sldMk cId="1955705466" sldId="1698"/>
            <ac:cxnSpMk id="65" creationId="{640842FB-D096-5B9C-E946-180124828694}"/>
          </ac:cxnSpMkLst>
        </pc:cxnChg>
        <pc:cxnChg chg="mod">
          <ac:chgData name="Mark Almirante (JDA PARTNERS TECHNICAL SERVICE)" userId="11b5fb94-1827-4228-a31f-331aae5ce8b5" providerId="ADAL" clId="{3F3C093C-9FF4-4990-8097-3CA67163E5C2}" dt="2024-03-01T00:40:27.910" v="103" actId="208"/>
          <ac:cxnSpMkLst>
            <pc:docMk/>
            <pc:sldMk cId="1955705466" sldId="1698"/>
            <ac:cxnSpMk id="66" creationId="{90CB39F8-ED0E-039C-4C0E-4E8D9BC5C6FB}"/>
          </ac:cxnSpMkLst>
        </pc:cxnChg>
        <pc:cxnChg chg="mod">
          <ac:chgData name="Mark Almirante (JDA PARTNERS TECHNICAL SERVICE)" userId="11b5fb94-1827-4228-a31f-331aae5ce8b5" providerId="ADAL" clId="{3F3C093C-9FF4-4990-8097-3CA67163E5C2}" dt="2024-03-01T00:40:27.910" v="103" actId="208"/>
          <ac:cxnSpMkLst>
            <pc:docMk/>
            <pc:sldMk cId="1955705466" sldId="1698"/>
            <ac:cxnSpMk id="67" creationId="{107E5A5A-5A69-342C-2E46-99D2FA3A6EDA}"/>
          </ac:cxnSpMkLst>
        </pc:cxnChg>
        <pc:cxnChg chg="mod">
          <ac:chgData name="Mark Almirante (JDA PARTNERS TECHNICAL SERVICE)" userId="11b5fb94-1827-4228-a31f-331aae5ce8b5" providerId="ADAL" clId="{3F3C093C-9FF4-4990-8097-3CA67163E5C2}" dt="2024-03-01T00:40:27.910" v="103" actId="208"/>
          <ac:cxnSpMkLst>
            <pc:docMk/>
            <pc:sldMk cId="1955705466" sldId="1698"/>
            <ac:cxnSpMk id="68" creationId="{3C8444C9-24CD-5EC8-9EB0-191908F0D15A}"/>
          </ac:cxnSpMkLst>
        </pc:cxnChg>
        <pc:cxnChg chg="mod">
          <ac:chgData name="Mark Almirante (JDA PARTNERS TECHNICAL SERVICE)" userId="11b5fb94-1827-4228-a31f-331aae5ce8b5" providerId="ADAL" clId="{3F3C093C-9FF4-4990-8097-3CA67163E5C2}" dt="2024-03-01T00:45:31.484" v="119" actId="1076"/>
          <ac:cxnSpMkLst>
            <pc:docMk/>
            <pc:sldMk cId="1955705466" sldId="1698"/>
            <ac:cxnSpMk id="118" creationId="{5DD95247-42A0-95D2-87F0-9F468BEEAA1A}"/>
          </ac:cxnSpMkLst>
        </pc:cxnChg>
        <pc:cxnChg chg="mod">
          <ac:chgData name="Mark Almirante (JDA PARTNERS TECHNICAL SERVICE)" userId="11b5fb94-1827-4228-a31f-331aae5ce8b5" providerId="ADAL" clId="{3F3C093C-9FF4-4990-8097-3CA67163E5C2}" dt="2024-03-01T00:45:31.484" v="119" actId="1076"/>
          <ac:cxnSpMkLst>
            <pc:docMk/>
            <pc:sldMk cId="1955705466" sldId="1698"/>
            <ac:cxnSpMk id="122" creationId="{6B1FD599-716D-0886-8F74-4A71A10FE1E7}"/>
          </ac:cxnSpMkLst>
        </pc:cxnChg>
        <pc:cxnChg chg="mod">
          <ac:chgData name="Mark Almirante (JDA PARTNERS TECHNICAL SERVICE)" userId="11b5fb94-1827-4228-a31f-331aae5ce8b5" providerId="ADAL" clId="{3F3C093C-9FF4-4990-8097-3CA67163E5C2}" dt="2024-03-01T00:07:36.798" v="96" actId="14100"/>
          <ac:cxnSpMkLst>
            <pc:docMk/>
            <pc:sldMk cId="1955705466" sldId="1698"/>
            <ac:cxnSpMk id="124" creationId="{C332E0D8-DAA6-668A-23EC-8785B0CC9D8A}"/>
          </ac:cxnSpMkLst>
        </pc:cxnChg>
        <pc:cxnChg chg="mod">
          <ac:chgData name="Mark Almirante (JDA PARTNERS TECHNICAL SERVICE)" userId="11b5fb94-1827-4228-a31f-331aae5ce8b5" providerId="ADAL" clId="{3F3C093C-9FF4-4990-8097-3CA67163E5C2}" dt="2024-03-01T00:07:47.132" v="99" actId="14100"/>
          <ac:cxnSpMkLst>
            <pc:docMk/>
            <pc:sldMk cId="1955705466" sldId="1698"/>
            <ac:cxnSpMk id="129" creationId="{53AE4A1A-BBAD-CCFD-CF55-F5B88B51A482}"/>
          </ac:cxnSpMkLst>
        </pc:cxnChg>
      </pc:sldChg>
      <pc:sldChg chg="del">
        <pc:chgData name="Mark Almirante (JDA PARTNERS TECHNICAL SERVICE)" userId="11b5fb94-1827-4228-a31f-331aae5ce8b5" providerId="ADAL" clId="{3F3C093C-9FF4-4990-8097-3CA67163E5C2}" dt="2024-03-01T00:48:17.808" v="141" actId="47"/>
        <pc:sldMkLst>
          <pc:docMk/>
          <pc:sldMk cId="3673766360" sldId="2076138539"/>
        </pc:sldMkLst>
      </pc:sldChg>
      <pc:sldChg chg="del">
        <pc:chgData name="Mark Almirante (JDA PARTNERS TECHNICAL SERVICE)" userId="11b5fb94-1827-4228-a31f-331aae5ce8b5" providerId="ADAL" clId="{3F3C093C-9FF4-4990-8097-3CA67163E5C2}" dt="2024-03-01T00:48:17.808" v="141" actId="47"/>
        <pc:sldMkLst>
          <pc:docMk/>
          <pc:sldMk cId="2250974479" sldId="2076138542"/>
        </pc:sldMkLst>
      </pc:sldChg>
      <pc:sldChg chg="del">
        <pc:chgData name="Mark Almirante (JDA PARTNERS TECHNICAL SERVICE)" userId="11b5fb94-1827-4228-a31f-331aae5ce8b5" providerId="ADAL" clId="{3F3C093C-9FF4-4990-8097-3CA67163E5C2}" dt="2024-03-01T00:48:17.808" v="141" actId="47"/>
        <pc:sldMkLst>
          <pc:docMk/>
          <pc:sldMk cId="3631597012" sldId="2076138543"/>
        </pc:sldMkLst>
      </pc:sldChg>
      <pc:sldChg chg="del">
        <pc:chgData name="Mark Almirante (JDA PARTNERS TECHNICAL SERVICE)" userId="11b5fb94-1827-4228-a31f-331aae5ce8b5" providerId="ADAL" clId="{3F3C093C-9FF4-4990-8097-3CA67163E5C2}" dt="2024-03-01T00:48:17.808" v="141" actId="47"/>
        <pc:sldMkLst>
          <pc:docMk/>
          <pc:sldMk cId="1285839026" sldId="2076138546"/>
        </pc:sldMkLst>
      </pc:sldChg>
      <pc:sldChg chg="del">
        <pc:chgData name="Mark Almirante (JDA PARTNERS TECHNICAL SERVICE)" userId="11b5fb94-1827-4228-a31f-331aae5ce8b5" providerId="ADAL" clId="{3F3C093C-9FF4-4990-8097-3CA67163E5C2}" dt="2024-03-01T00:48:17.808" v="141" actId="47"/>
        <pc:sldMkLst>
          <pc:docMk/>
          <pc:sldMk cId="3415817046" sldId="2076138548"/>
        </pc:sldMkLst>
      </pc:sldChg>
      <pc:sldChg chg="del">
        <pc:chgData name="Mark Almirante (JDA PARTNERS TECHNICAL SERVICE)" userId="11b5fb94-1827-4228-a31f-331aae5ce8b5" providerId="ADAL" clId="{3F3C093C-9FF4-4990-8097-3CA67163E5C2}" dt="2024-03-01T00:48:17.808" v="141" actId="47"/>
        <pc:sldMkLst>
          <pc:docMk/>
          <pc:sldMk cId="4246774788" sldId="2076138549"/>
        </pc:sldMkLst>
      </pc:sldChg>
      <pc:sldChg chg="del">
        <pc:chgData name="Mark Almirante (JDA PARTNERS TECHNICAL SERVICE)" userId="11b5fb94-1827-4228-a31f-331aae5ce8b5" providerId="ADAL" clId="{3F3C093C-9FF4-4990-8097-3CA67163E5C2}" dt="2024-03-01T00:48:17.808" v="141" actId="47"/>
        <pc:sldMkLst>
          <pc:docMk/>
          <pc:sldMk cId="2175139145" sldId="2076138550"/>
        </pc:sldMkLst>
      </pc:sldChg>
      <pc:sldChg chg="del">
        <pc:chgData name="Mark Almirante (JDA PARTNERS TECHNICAL SERVICE)" userId="11b5fb94-1827-4228-a31f-331aae5ce8b5" providerId="ADAL" clId="{3F3C093C-9FF4-4990-8097-3CA67163E5C2}" dt="2024-03-01T00:48:17.808" v="141" actId="47"/>
        <pc:sldMkLst>
          <pc:docMk/>
          <pc:sldMk cId="1787905400" sldId="2076138551"/>
        </pc:sldMkLst>
      </pc:sldChg>
      <pc:sldChg chg="del">
        <pc:chgData name="Mark Almirante (JDA PARTNERS TECHNICAL SERVICE)" userId="11b5fb94-1827-4228-a31f-331aae5ce8b5" providerId="ADAL" clId="{3F3C093C-9FF4-4990-8097-3CA67163E5C2}" dt="2024-03-01T00:48:17.808" v="141" actId="47"/>
        <pc:sldMkLst>
          <pc:docMk/>
          <pc:sldMk cId="2658717535" sldId="2076138552"/>
        </pc:sldMkLst>
      </pc:sldChg>
      <pc:sldChg chg="del">
        <pc:chgData name="Mark Almirante (JDA PARTNERS TECHNICAL SERVICE)" userId="11b5fb94-1827-4228-a31f-331aae5ce8b5" providerId="ADAL" clId="{3F3C093C-9FF4-4990-8097-3CA67163E5C2}" dt="2024-03-01T00:48:17.808" v="141" actId="47"/>
        <pc:sldMkLst>
          <pc:docMk/>
          <pc:sldMk cId="2435444401" sldId="2076138553"/>
        </pc:sldMkLst>
      </pc:sldChg>
      <pc:sldChg chg="addSp delSp modSp mod">
        <pc:chgData name="Mark Almirante (JDA PARTNERS TECHNICAL SERVICE)" userId="11b5fb94-1827-4228-a31f-331aae5ce8b5" providerId="ADAL" clId="{3F3C093C-9FF4-4990-8097-3CA67163E5C2}" dt="2024-03-15T00:01:36.296" v="2373" actId="1076"/>
        <pc:sldMkLst>
          <pc:docMk/>
          <pc:sldMk cId="181159887" sldId="2076138554"/>
        </pc:sldMkLst>
        <pc:spChg chg="mod">
          <ac:chgData name="Mark Almirante (JDA PARTNERS TECHNICAL SERVICE)" userId="11b5fb94-1827-4228-a31f-331aae5ce8b5" providerId="ADAL" clId="{3F3C093C-9FF4-4990-8097-3CA67163E5C2}" dt="2024-03-14T23:46:53.206" v="2314" actId="20577"/>
          <ac:spMkLst>
            <pc:docMk/>
            <pc:sldMk cId="181159887" sldId="2076138554"/>
            <ac:spMk id="2" creationId="{F5AF63BF-4B09-81E2-C7E1-F762478A1E5C}"/>
          </ac:spMkLst>
        </pc:spChg>
        <pc:picChg chg="add del mod">
          <ac:chgData name="Mark Almirante (JDA PARTNERS TECHNICAL SERVICE)" userId="11b5fb94-1827-4228-a31f-331aae5ce8b5" providerId="ADAL" clId="{3F3C093C-9FF4-4990-8097-3CA67163E5C2}" dt="2024-03-15T00:00:08.495" v="2364" actId="478"/>
          <ac:picMkLst>
            <pc:docMk/>
            <pc:sldMk cId="181159887" sldId="2076138554"/>
            <ac:picMk id="5" creationId="{C05DB24E-838A-64FF-F37E-035920B12D86}"/>
          </ac:picMkLst>
        </pc:picChg>
        <pc:picChg chg="add del mod">
          <ac:chgData name="Mark Almirante (JDA PARTNERS TECHNICAL SERVICE)" userId="11b5fb94-1827-4228-a31f-331aae5ce8b5" providerId="ADAL" clId="{3F3C093C-9FF4-4990-8097-3CA67163E5C2}" dt="2024-03-15T00:01:30.757" v="2369" actId="478"/>
          <ac:picMkLst>
            <pc:docMk/>
            <pc:sldMk cId="181159887" sldId="2076138554"/>
            <ac:picMk id="6" creationId="{8D818056-7CE1-9AA6-5B36-757FF2FFF376}"/>
          </ac:picMkLst>
        </pc:picChg>
        <pc:picChg chg="del">
          <ac:chgData name="Mark Almirante (JDA PARTNERS TECHNICAL SERVICE)" userId="11b5fb94-1827-4228-a31f-331aae5ce8b5" providerId="ADAL" clId="{3F3C093C-9FF4-4990-8097-3CA67163E5C2}" dt="2024-02-29T23:57:58.269" v="67" actId="478"/>
          <ac:picMkLst>
            <pc:docMk/>
            <pc:sldMk cId="181159887" sldId="2076138554"/>
            <ac:picMk id="6" creationId="{DB2293DB-3FF4-F714-19F9-EACA32C4D3A3}"/>
          </ac:picMkLst>
        </pc:picChg>
        <pc:picChg chg="add mod">
          <ac:chgData name="Mark Almirante (JDA PARTNERS TECHNICAL SERVICE)" userId="11b5fb94-1827-4228-a31f-331aae5ce8b5" providerId="ADAL" clId="{3F3C093C-9FF4-4990-8097-3CA67163E5C2}" dt="2024-03-15T00:01:36.296" v="2373" actId="1076"/>
          <ac:picMkLst>
            <pc:docMk/>
            <pc:sldMk cId="181159887" sldId="2076138554"/>
            <ac:picMk id="8" creationId="{781B7A82-3097-24B7-8576-F1D334A2EA88}"/>
          </ac:picMkLst>
        </pc:picChg>
      </pc:sldChg>
      <pc:sldChg chg="addSp delSp modSp add del mod">
        <pc:chgData name="Mark Almirante (JDA PARTNERS TECHNICAL SERVICE)" userId="11b5fb94-1827-4228-a31f-331aae5ce8b5" providerId="ADAL" clId="{3F3C093C-9FF4-4990-8097-3CA67163E5C2}" dt="2024-03-15T02:12:14.983" v="3036" actId="47"/>
        <pc:sldMkLst>
          <pc:docMk/>
          <pc:sldMk cId="1305000848" sldId="2076138555"/>
        </pc:sldMkLst>
        <pc:spChg chg="mod">
          <ac:chgData name="Mark Almirante (JDA PARTNERS TECHNICAL SERVICE)" userId="11b5fb94-1827-4228-a31f-331aae5ce8b5" providerId="ADAL" clId="{3F3C093C-9FF4-4990-8097-3CA67163E5C2}" dt="2024-03-01T03:58:33.171" v="1622" actId="20577"/>
          <ac:spMkLst>
            <pc:docMk/>
            <pc:sldMk cId="1305000848" sldId="2076138555"/>
            <ac:spMk id="4" creationId="{00000000-0000-0000-0000-000000000000}"/>
          </ac:spMkLst>
        </pc:spChg>
        <pc:graphicFrameChg chg="del">
          <ac:chgData name="Mark Almirante (JDA PARTNERS TECHNICAL SERVICE)" userId="11b5fb94-1827-4228-a31f-331aae5ce8b5" providerId="ADAL" clId="{3F3C093C-9FF4-4990-8097-3CA67163E5C2}" dt="2024-03-01T02:36:57.890" v="211" actId="478"/>
          <ac:graphicFrameMkLst>
            <pc:docMk/>
            <pc:sldMk cId="1305000848" sldId="2076138555"/>
            <ac:graphicFrameMk id="2" creationId="{5C134E13-E15B-4D97-80E7-EE03878EB658}"/>
          </ac:graphicFrameMkLst>
        </pc:graphicFrameChg>
        <pc:graphicFrameChg chg="add mod modGraphic">
          <ac:chgData name="Mark Almirante (JDA PARTNERS TECHNICAL SERVICE)" userId="11b5fb94-1827-4228-a31f-331aae5ce8b5" providerId="ADAL" clId="{3F3C093C-9FF4-4990-8097-3CA67163E5C2}" dt="2024-03-01T11:22:26.087" v="1814" actId="20577"/>
          <ac:graphicFrameMkLst>
            <pc:docMk/>
            <pc:sldMk cId="1305000848" sldId="2076138555"/>
            <ac:graphicFrameMk id="3" creationId="{F2D072C6-13B1-263F-6D01-09846147897D}"/>
          </ac:graphicFrameMkLst>
        </pc:graphicFrameChg>
      </pc:sldChg>
      <pc:sldChg chg="del">
        <pc:chgData name="Mark Almirante (JDA PARTNERS TECHNICAL SERVICE)" userId="11b5fb94-1827-4228-a31f-331aae5ce8b5" providerId="ADAL" clId="{3F3C093C-9FF4-4990-8097-3CA67163E5C2}" dt="2024-03-01T00:48:17.808" v="141" actId="47"/>
        <pc:sldMkLst>
          <pc:docMk/>
          <pc:sldMk cId="1381924969" sldId="2076138555"/>
        </pc:sldMkLst>
      </pc:sldChg>
      <pc:sldChg chg="del">
        <pc:chgData name="Mark Almirante (JDA PARTNERS TECHNICAL SERVICE)" userId="11b5fb94-1827-4228-a31f-331aae5ce8b5" providerId="ADAL" clId="{3F3C093C-9FF4-4990-8097-3CA67163E5C2}" dt="2024-03-01T00:48:17.808" v="141" actId="47"/>
        <pc:sldMkLst>
          <pc:docMk/>
          <pc:sldMk cId="449551517" sldId="2076138556"/>
        </pc:sldMkLst>
      </pc:sldChg>
      <pc:sldChg chg="delSp modSp add del mod">
        <pc:chgData name="Mark Almirante (JDA PARTNERS TECHNICAL SERVICE)" userId="11b5fb94-1827-4228-a31f-331aae5ce8b5" providerId="ADAL" clId="{3F3C093C-9FF4-4990-8097-3CA67163E5C2}" dt="2024-03-01T03:59:03.211" v="1638" actId="47"/>
        <pc:sldMkLst>
          <pc:docMk/>
          <pc:sldMk cId="2991553773" sldId="2076138556"/>
        </pc:sldMkLst>
        <pc:spChg chg="mod">
          <ac:chgData name="Mark Almirante (JDA PARTNERS TECHNICAL SERVICE)" userId="11b5fb94-1827-4228-a31f-331aae5ce8b5" providerId="ADAL" clId="{3F3C093C-9FF4-4990-8097-3CA67163E5C2}" dt="2024-03-01T03:58:42.610" v="1634" actId="20577"/>
          <ac:spMkLst>
            <pc:docMk/>
            <pc:sldMk cId="2991553773" sldId="2076138556"/>
            <ac:spMk id="4" creationId="{00000000-0000-0000-0000-000000000000}"/>
          </ac:spMkLst>
        </pc:spChg>
        <pc:graphicFrameChg chg="del">
          <ac:chgData name="Mark Almirante (JDA PARTNERS TECHNICAL SERVICE)" userId="11b5fb94-1827-4228-a31f-331aae5ce8b5" providerId="ADAL" clId="{3F3C093C-9FF4-4990-8097-3CA67163E5C2}" dt="2024-03-01T03:58:45.186" v="1635" actId="478"/>
          <ac:graphicFrameMkLst>
            <pc:docMk/>
            <pc:sldMk cId="2991553773" sldId="2076138556"/>
            <ac:graphicFrameMk id="3" creationId="{F2D072C6-13B1-263F-6D01-09846147897D}"/>
          </ac:graphicFrameMkLst>
        </pc:graphicFrameChg>
      </pc:sldChg>
      <pc:sldChg chg="add">
        <pc:chgData name="Mark Almirante (JDA PARTNERS TECHNICAL SERVICE)" userId="11b5fb94-1827-4228-a31f-331aae5ce8b5" providerId="ADAL" clId="{3F3C093C-9FF4-4990-8097-3CA67163E5C2}" dt="2024-03-15T05:27:33.583" v="3463"/>
        <pc:sldMkLst>
          <pc:docMk/>
          <pc:sldMk cId="3104191768" sldId="2147478838"/>
        </pc:sldMkLst>
      </pc:sldChg>
      <pc:sldChg chg="add">
        <pc:chgData name="Mark Almirante (JDA PARTNERS TECHNICAL SERVICE)" userId="11b5fb94-1827-4228-a31f-331aae5ce8b5" providerId="ADAL" clId="{3F3C093C-9FF4-4990-8097-3CA67163E5C2}" dt="2024-03-22T14:59:51.111" v="4645"/>
        <pc:sldMkLst>
          <pc:docMk/>
          <pc:sldMk cId="1565117849" sldId="2147478840"/>
        </pc:sldMkLst>
      </pc:sldChg>
      <pc:sldChg chg="add">
        <pc:chgData name="Mark Almirante (JDA PARTNERS TECHNICAL SERVICE)" userId="11b5fb94-1827-4228-a31f-331aae5ce8b5" providerId="ADAL" clId="{3F3C093C-9FF4-4990-8097-3CA67163E5C2}" dt="2024-03-22T15:00:17.016" v="4647"/>
        <pc:sldMkLst>
          <pc:docMk/>
          <pc:sldMk cId="1311190167" sldId="2147478841"/>
        </pc:sldMkLst>
      </pc:sldChg>
      <pc:sldChg chg="add">
        <pc:chgData name="Mark Almirante (JDA PARTNERS TECHNICAL SERVICE)" userId="11b5fb94-1827-4228-a31f-331aae5ce8b5" providerId="ADAL" clId="{3F3C093C-9FF4-4990-8097-3CA67163E5C2}" dt="2024-03-22T15:00:05.914" v="4646"/>
        <pc:sldMkLst>
          <pc:docMk/>
          <pc:sldMk cId="3919499807" sldId="2147478846"/>
        </pc:sldMkLst>
      </pc:sldChg>
      <pc:sldChg chg="add">
        <pc:chgData name="Mark Almirante (JDA PARTNERS TECHNICAL SERVICE)" userId="11b5fb94-1827-4228-a31f-331aae5ce8b5" providerId="ADAL" clId="{3F3C093C-9FF4-4990-8097-3CA67163E5C2}" dt="2024-03-22T15:00:23.997" v="4648"/>
        <pc:sldMkLst>
          <pc:docMk/>
          <pc:sldMk cId="2508877780" sldId="2147478847"/>
        </pc:sldMkLst>
      </pc:sldChg>
      <pc:sldChg chg="addSp delSp modSp add mod modNotesTx">
        <pc:chgData name="Mark Almirante (JDA PARTNERS TECHNICAL SERVICE)" userId="11b5fb94-1827-4228-a31f-331aae5ce8b5" providerId="ADAL" clId="{3F3C093C-9FF4-4990-8097-3CA67163E5C2}" dt="2024-03-15T13:19:01.461" v="4130" actId="20577"/>
        <pc:sldMkLst>
          <pc:docMk/>
          <pc:sldMk cId="3146019978" sldId="2147478862"/>
        </pc:sldMkLst>
        <pc:spChg chg="mod">
          <ac:chgData name="Mark Almirante (JDA PARTNERS TECHNICAL SERVICE)" userId="11b5fb94-1827-4228-a31f-331aae5ce8b5" providerId="ADAL" clId="{3F3C093C-9FF4-4990-8097-3CA67163E5C2}" dt="2024-03-15T02:53:55.468" v="3442" actId="1035"/>
          <ac:spMkLst>
            <pc:docMk/>
            <pc:sldMk cId="3146019978" sldId="2147478862"/>
            <ac:spMk id="3" creationId="{E80C102E-1F46-0030-D2AC-CE3DC153F6B8}"/>
          </ac:spMkLst>
        </pc:spChg>
        <pc:spChg chg="mod">
          <ac:chgData name="Mark Almirante (JDA PARTNERS TECHNICAL SERVICE)" userId="11b5fb94-1827-4228-a31f-331aae5ce8b5" providerId="ADAL" clId="{3F3C093C-9FF4-4990-8097-3CA67163E5C2}" dt="2024-03-14T23:53:14.135" v="2318" actId="1076"/>
          <ac:spMkLst>
            <pc:docMk/>
            <pc:sldMk cId="3146019978" sldId="2147478862"/>
            <ac:spMk id="4" creationId="{DB13EC4B-D52B-CFBB-C701-315FF4FA7AD8}"/>
          </ac:spMkLst>
        </pc:spChg>
        <pc:spChg chg="mod">
          <ac:chgData name="Mark Almirante (JDA PARTNERS TECHNICAL SERVICE)" userId="11b5fb94-1827-4228-a31f-331aae5ce8b5" providerId="ADAL" clId="{3F3C093C-9FF4-4990-8097-3CA67163E5C2}" dt="2024-03-15T13:04:36.586" v="3926" actId="20577"/>
          <ac:spMkLst>
            <pc:docMk/>
            <pc:sldMk cId="3146019978" sldId="2147478862"/>
            <ac:spMk id="5" creationId="{EEFC8789-965F-4AB8-E134-6503FE1C5E78}"/>
          </ac:spMkLst>
        </pc:spChg>
        <pc:spChg chg="del">
          <ac:chgData name="Mark Almirante (JDA PARTNERS TECHNICAL SERVICE)" userId="11b5fb94-1827-4228-a31f-331aae5ce8b5" providerId="ADAL" clId="{3F3C093C-9FF4-4990-8097-3CA67163E5C2}" dt="2024-03-14T23:54:48.279" v="2336" actId="21"/>
          <ac:spMkLst>
            <pc:docMk/>
            <pc:sldMk cId="3146019978" sldId="2147478862"/>
            <ac:spMk id="7" creationId="{D786A86C-8C27-9C0C-C028-57912F105CD0}"/>
          </ac:spMkLst>
        </pc:spChg>
        <pc:spChg chg="mod">
          <ac:chgData name="Mark Almirante (JDA PARTNERS TECHNICAL SERVICE)" userId="11b5fb94-1827-4228-a31f-331aae5ce8b5" providerId="ADAL" clId="{3F3C093C-9FF4-4990-8097-3CA67163E5C2}" dt="2024-03-15T02:53:55.468" v="3442" actId="1035"/>
          <ac:spMkLst>
            <pc:docMk/>
            <pc:sldMk cId="3146019978" sldId="2147478862"/>
            <ac:spMk id="9" creationId="{576A4EC6-172B-3599-88BE-CB8D7B681354}"/>
          </ac:spMkLst>
        </pc:spChg>
        <pc:spChg chg="add mod">
          <ac:chgData name="Mark Almirante (JDA PARTNERS TECHNICAL SERVICE)" userId="11b5fb94-1827-4228-a31f-331aae5ce8b5" providerId="ADAL" clId="{3F3C093C-9FF4-4990-8097-3CA67163E5C2}" dt="2024-03-15T02:53:55.468" v="3442" actId="1035"/>
          <ac:spMkLst>
            <pc:docMk/>
            <pc:sldMk cId="3146019978" sldId="2147478862"/>
            <ac:spMk id="12" creationId="{4E58395D-BD98-674F-EBD1-080E4596B618}"/>
          </ac:spMkLst>
        </pc:spChg>
        <pc:spChg chg="add del">
          <ac:chgData name="Mark Almirante (JDA PARTNERS TECHNICAL SERVICE)" userId="11b5fb94-1827-4228-a31f-331aae5ce8b5" providerId="ADAL" clId="{3F3C093C-9FF4-4990-8097-3CA67163E5C2}" dt="2024-03-15T13:05:14.796" v="3928" actId="22"/>
          <ac:spMkLst>
            <pc:docMk/>
            <pc:sldMk cId="3146019978" sldId="2147478862"/>
            <ac:spMk id="20" creationId="{D8A3124C-8AE0-10E0-40BF-AA3121D17399}"/>
          </ac:spMkLst>
        </pc:spChg>
        <pc:picChg chg="mod">
          <ac:chgData name="Mark Almirante (JDA PARTNERS TECHNICAL SERVICE)" userId="11b5fb94-1827-4228-a31f-331aae5ce8b5" providerId="ADAL" clId="{3F3C093C-9FF4-4990-8097-3CA67163E5C2}" dt="2024-03-15T02:53:55.468" v="3442" actId="1035"/>
          <ac:picMkLst>
            <pc:docMk/>
            <pc:sldMk cId="3146019978" sldId="2147478862"/>
            <ac:picMk id="2" creationId="{E32C5ACB-A166-E63B-668D-8BA51D56F899}"/>
          </ac:picMkLst>
        </pc:picChg>
        <pc:cxnChg chg="mod">
          <ac:chgData name="Mark Almirante (JDA PARTNERS TECHNICAL SERVICE)" userId="11b5fb94-1827-4228-a31f-331aae5ce8b5" providerId="ADAL" clId="{3F3C093C-9FF4-4990-8097-3CA67163E5C2}" dt="2024-03-15T02:53:55.468" v="3442" actId="1035"/>
          <ac:cxnSpMkLst>
            <pc:docMk/>
            <pc:sldMk cId="3146019978" sldId="2147478862"/>
            <ac:cxnSpMk id="8" creationId="{498A3D5C-EBF1-004D-1739-97A2A6DE4BF6}"/>
          </ac:cxnSpMkLst>
        </pc:cxnChg>
        <pc:cxnChg chg="add mod">
          <ac:chgData name="Mark Almirante (JDA PARTNERS TECHNICAL SERVICE)" userId="11b5fb94-1827-4228-a31f-331aae5ce8b5" providerId="ADAL" clId="{3F3C093C-9FF4-4990-8097-3CA67163E5C2}" dt="2024-03-15T12:08:47.874" v="3468" actId="14100"/>
          <ac:cxnSpMkLst>
            <pc:docMk/>
            <pc:sldMk cId="3146019978" sldId="2147478862"/>
            <ac:cxnSpMk id="10" creationId="{786E825C-2359-3ECF-39C3-9DD7F4628C19}"/>
          </ac:cxnSpMkLst>
        </pc:cxnChg>
      </pc:sldChg>
      <pc:sldChg chg="addSp delSp modSp new mod modAnim">
        <pc:chgData name="Mark Almirante (JDA PARTNERS TECHNICAL SERVICE)" userId="11b5fb94-1827-4228-a31f-331aae5ce8b5" providerId="ADAL" clId="{3F3C093C-9FF4-4990-8097-3CA67163E5C2}" dt="2024-03-15T14:05:06.529" v="4643" actId="20577"/>
        <pc:sldMkLst>
          <pc:docMk/>
          <pc:sldMk cId="402397817" sldId="2147478863"/>
        </pc:sldMkLst>
        <pc:spChg chg="add mod">
          <ac:chgData name="Mark Almirante (JDA PARTNERS TECHNICAL SERVICE)" userId="11b5fb94-1827-4228-a31f-331aae5ce8b5" providerId="ADAL" clId="{3F3C093C-9FF4-4990-8097-3CA67163E5C2}" dt="2024-03-15T01:24:41.386" v="2467" actId="20577"/>
          <ac:spMkLst>
            <pc:docMk/>
            <pc:sldMk cId="402397817" sldId="2147478863"/>
            <ac:spMk id="2" creationId="{BE100BD9-3C9C-A10A-B346-4CF2A37887A2}"/>
          </ac:spMkLst>
        </pc:spChg>
        <pc:spChg chg="add del mod">
          <ac:chgData name="Mark Almirante (JDA PARTNERS TECHNICAL SERVICE)" userId="11b5fb94-1827-4228-a31f-331aae5ce8b5" providerId="ADAL" clId="{3F3C093C-9FF4-4990-8097-3CA67163E5C2}" dt="2024-03-15T01:24:19.838" v="2433" actId="478"/>
          <ac:spMkLst>
            <pc:docMk/>
            <pc:sldMk cId="402397817" sldId="2147478863"/>
            <ac:spMk id="3" creationId="{C54E137C-EEF8-C0E2-E106-81FC21CD1A79}"/>
          </ac:spMkLst>
        </pc:spChg>
        <pc:spChg chg="add del mod">
          <ac:chgData name="Mark Almirante (JDA PARTNERS TECHNICAL SERVICE)" userId="11b5fb94-1827-4228-a31f-331aae5ce8b5" providerId="ADAL" clId="{3F3C093C-9FF4-4990-8097-3CA67163E5C2}" dt="2024-03-15T01:23:43.760" v="2431" actId="478"/>
          <ac:spMkLst>
            <pc:docMk/>
            <pc:sldMk cId="402397817" sldId="2147478863"/>
            <ac:spMk id="4" creationId="{BBBDC663-3783-5E84-7268-7FFF1BF9B6EB}"/>
          </ac:spMkLst>
        </pc:spChg>
        <pc:spChg chg="add del mod">
          <ac:chgData name="Mark Almirante (JDA PARTNERS TECHNICAL SERVICE)" userId="11b5fb94-1827-4228-a31f-331aae5ce8b5" providerId="ADAL" clId="{3F3C093C-9FF4-4990-8097-3CA67163E5C2}" dt="2024-03-15T01:23:43.760" v="2431" actId="478"/>
          <ac:spMkLst>
            <pc:docMk/>
            <pc:sldMk cId="402397817" sldId="2147478863"/>
            <ac:spMk id="5" creationId="{CCDC59E1-1E4A-E889-9507-439B4A6C59E7}"/>
          </ac:spMkLst>
        </pc:spChg>
        <pc:spChg chg="add del mod">
          <ac:chgData name="Mark Almirante (JDA PARTNERS TECHNICAL SERVICE)" userId="11b5fb94-1827-4228-a31f-331aae5ce8b5" providerId="ADAL" clId="{3F3C093C-9FF4-4990-8097-3CA67163E5C2}" dt="2024-03-15T01:24:19.838" v="2433" actId="478"/>
          <ac:spMkLst>
            <pc:docMk/>
            <pc:sldMk cId="402397817" sldId="2147478863"/>
            <ac:spMk id="6" creationId="{C92010B7-2F83-116D-E845-B4F4CDB59D21}"/>
          </ac:spMkLst>
        </pc:spChg>
        <pc:spChg chg="add mod">
          <ac:chgData name="Mark Almirante (JDA PARTNERS TECHNICAL SERVICE)" userId="11b5fb94-1827-4228-a31f-331aae5ce8b5" providerId="ADAL" clId="{3F3C093C-9FF4-4990-8097-3CA67163E5C2}" dt="2024-03-15T00:06:09.444" v="2403" actId="1076"/>
          <ac:spMkLst>
            <pc:docMk/>
            <pc:sldMk cId="402397817" sldId="2147478863"/>
            <ac:spMk id="7" creationId="{D786A86C-8C27-9C0C-C028-57912F105CD0}"/>
          </ac:spMkLst>
        </pc:spChg>
        <pc:spChg chg="add del mod">
          <ac:chgData name="Mark Almirante (JDA PARTNERS TECHNICAL SERVICE)" userId="11b5fb94-1827-4228-a31f-331aae5ce8b5" providerId="ADAL" clId="{3F3C093C-9FF4-4990-8097-3CA67163E5C2}" dt="2024-03-15T01:24:19.838" v="2433" actId="478"/>
          <ac:spMkLst>
            <pc:docMk/>
            <pc:sldMk cId="402397817" sldId="2147478863"/>
            <ac:spMk id="8" creationId="{3234AB4D-4B5D-F713-9997-D7FC7823D753}"/>
          </ac:spMkLst>
        </pc:spChg>
        <pc:spChg chg="add del mod">
          <ac:chgData name="Mark Almirante (JDA PARTNERS TECHNICAL SERVICE)" userId="11b5fb94-1827-4228-a31f-331aae5ce8b5" providerId="ADAL" clId="{3F3C093C-9FF4-4990-8097-3CA67163E5C2}" dt="2024-03-15T01:23:43.760" v="2431" actId="478"/>
          <ac:spMkLst>
            <pc:docMk/>
            <pc:sldMk cId="402397817" sldId="2147478863"/>
            <ac:spMk id="9" creationId="{D8DFC199-EFB3-6D57-5B22-BA9B7B98B5AC}"/>
          </ac:spMkLst>
        </pc:spChg>
        <pc:graphicFrameChg chg="add mod modGraphic">
          <ac:chgData name="Mark Almirante (JDA PARTNERS TECHNICAL SERVICE)" userId="11b5fb94-1827-4228-a31f-331aae5ce8b5" providerId="ADAL" clId="{3F3C093C-9FF4-4990-8097-3CA67163E5C2}" dt="2024-03-15T14:05:06.529" v="4643" actId="20577"/>
          <ac:graphicFrameMkLst>
            <pc:docMk/>
            <pc:sldMk cId="402397817" sldId="2147478863"/>
            <ac:graphicFrameMk id="12" creationId="{5003B5BD-D8B4-AC74-0A6B-B9E1D4A3893B}"/>
          </ac:graphicFrameMkLst>
        </pc:graphicFrameChg>
        <pc:cxnChg chg="add del mod">
          <ac:chgData name="Mark Almirante (JDA PARTNERS TECHNICAL SERVICE)" userId="11b5fb94-1827-4228-a31f-331aae5ce8b5" providerId="ADAL" clId="{3F3C093C-9FF4-4990-8097-3CA67163E5C2}" dt="2024-03-15T00:15:31.627" v="2411" actId="478"/>
          <ac:cxnSpMkLst>
            <pc:docMk/>
            <pc:sldMk cId="402397817" sldId="2147478863"/>
            <ac:cxnSpMk id="10" creationId="{D834392E-9342-7863-F587-BBF2774FE240}"/>
          </ac:cxnSpMkLst>
        </pc:cxnChg>
      </pc:sldChg>
      <pc:sldChg chg="addSp delSp modSp add del mod">
        <pc:chgData name="Mark Almirante (JDA PARTNERS TECHNICAL SERVICE)" userId="11b5fb94-1827-4228-a31f-331aae5ce8b5" providerId="ADAL" clId="{3F3C093C-9FF4-4990-8097-3CA67163E5C2}" dt="2024-03-15T02:31:50.218" v="3317" actId="47"/>
        <pc:sldMkLst>
          <pc:docMk/>
          <pc:sldMk cId="276627079" sldId="2147478864"/>
        </pc:sldMkLst>
        <pc:spChg chg="mod">
          <ac:chgData name="Mark Almirante (JDA PARTNERS TECHNICAL SERVICE)" userId="11b5fb94-1827-4228-a31f-331aae5ce8b5" providerId="ADAL" clId="{3F3C093C-9FF4-4990-8097-3CA67163E5C2}" dt="2024-03-15T01:36:35.739" v="2686" actId="20577"/>
          <ac:spMkLst>
            <pc:docMk/>
            <pc:sldMk cId="276627079" sldId="2147478864"/>
            <ac:spMk id="2" creationId="{BE100BD9-3C9C-A10A-B346-4CF2A37887A2}"/>
          </ac:spMkLst>
        </pc:spChg>
        <pc:spChg chg="del">
          <ac:chgData name="Mark Almirante (JDA PARTNERS TECHNICAL SERVICE)" userId="11b5fb94-1827-4228-a31f-331aae5ce8b5" providerId="ADAL" clId="{3F3C093C-9FF4-4990-8097-3CA67163E5C2}" dt="2024-03-15T01:36:45.344" v="2687" actId="478"/>
          <ac:spMkLst>
            <pc:docMk/>
            <pc:sldMk cId="276627079" sldId="2147478864"/>
            <ac:spMk id="7" creationId="{D786A86C-8C27-9C0C-C028-57912F105CD0}"/>
          </ac:spMkLst>
        </pc:spChg>
        <pc:graphicFrameChg chg="add mod modGraphic">
          <ac:chgData name="Mark Almirante (JDA PARTNERS TECHNICAL SERVICE)" userId="11b5fb94-1827-4228-a31f-331aae5ce8b5" providerId="ADAL" clId="{3F3C093C-9FF4-4990-8097-3CA67163E5C2}" dt="2024-03-15T02:27:16.924" v="3075" actId="478"/>
          <ac:graphicFrameMkLst>
            <pc:docMk/>
            <pc:sldMk cId="276627079" sldId="2147478864"/>
            <ac:graphicFrameMk id="3" creationId="{281AD207-B8D0-92C2-0F11-1595204CD08C}"/>
          </ac:graphicFrameMkLst>
        </pc:graphicFrameChg>
        <pc:graphicFrameChg chg="del mod">
          <ac:chgData name="Mark Almirante (JDA PARTNERS TECHNICAL SERVICE)" userId="11b5fb94-1827-4228-a31f-331aae5ce8b5" providerId="ADAL" clId="{3F3C093C-9FF4-4990-8097-3CA67163E5C2}" dt="2024-03-15T01:42:48.433" v="2779" actId="478"/>
          <ac:graphicFrameMkLst>
            <pc:docMk/>
            <pc:sldMk cId="276627079" sldId="2147478864"/>
            <ac:graphicFrameMk id="12" creationId="{5003B5BD-D8B4-AC74-0A6B-B9E1D4A3893B}"/>
          </ac:graphicFrameMkLst>
        </pc:graphicFrameChg>
      </pc:sldChg>
      <pc:sldChg chg="addSp delSp modSp add mod ord">
        <pc:chgData name="Mark Almirante (JDA PARTNERS TECHNICAL SERVICE)" userId="11b5fb94-1827-4228-a31f-331aae5ce8b5" providerId="ADAL" clId="{3F3C093C-9FF4-4990-8097-3CA67163E5C2}" dt="2024-03-15T14:02:51.385" v="4640" actId="1076"/>
        <pc:sldMkLst>
          <pc:docMk/>
          <pc:sldMk cId="3572520711" sldId="2147478865"/>
        </pc:sldMkLst>
        <pc:spChg chg="mod">
          <ac:chgData name="Mark Almirante (JDA PARTNERS TECHNICAL SERVICE)" userId="11b5fb94-1827-4228-a31f-331aae5ce8b5" providerId="ADAL" clId="{3F3C093C-9FF4-4990-8097-3CA67163E5C2}" dt="2024-03-15T13:21:37.099" v="4165" actId="20577"/>
          <ac:spMkLst>
            <pc:docMk/>
            <pc:sldMk cId="3572520711" sldId="2147478865"/>
            <ac:spMk id="2" creationId="{BE100BD9-3C9C-A10A-B346-4CF2A37887A2}"/>
          </ac:spMkLst>
        </pc:spChg>
        <pc:graphicFrameChg chg="del">
          <ac:chgData name="Mark Almirante (JDA PARTNERS TECHNICAL SERVICE)" userId="11b5fb94-1827-4228-a31f-331aae5ce8b5" providerId="ADAL" clId="{3F3C093C-9FF4-4990-8097-3CA67163E5C2}" dt="2024-03-15T02:27:39.352" v="3077" actId="478"/>
          <ac:graphicFrameMkLst>
            <pc:docMk/>
            <pc:sldMk cId="3572520711" sldId="2147478865"/>
            <ac:graphicFrameMk id="3" creationId="{281AD207-B8D0-92C2-0F11-1595204CD08C}"/>
          </ac:graphicFrameMkLst>
        </pc:graphicFrameChg>
        <pc:graphicFrameChg chg="add del mod modGraphic">
          <ac:chgData name="Mark Almirante (JDA PARTNERS TECHNICAL SERVICE)" userId="11b5fb94-1827-4228-a31f-331aae5ce8b5" providerId="ADAL" clId="{3F3C093C-9FF4-4990-8097-3CA67163E5C2}" dt="2024-03-15T13:21:51.192" v="4167" actId="478"/>
          <ac:graphicFrameMkLst>
            <pc:docMk/>
            <pc:sldMk cId="3572520711" sldId="2147478865"/>
            <ac:graphicFrameMk id="4" creationId="{C694D4C5-E675-D5CB-7C10-9975CB3C66DF}"/>
          </ac:graphicFrameMkLst>
        </pc:graphicFrameChg>
        <pc:graphicFrameChg chg="add mod modGraphic">
          <ac:chgData name="Mark Almirante (JDA PARTNERS TECHNICAL SERVICE)" userId="11b5fb94-1827-4228-a31f-331aae5ce8b5" providerId="ADAL" clId="{3F3C093C-9FF4-4990-8097-3CA67163E5C2}" dt="2024-03-15T14:02:51.385" v="4640" actId="1076"/>
          <ac:graphicFrameMkLst>
            <pc:docMk/>
            <pc:sldMk cId="3572520711" sldId="2147478865"/>
            <ac:graphicFrameMk id="5" creationId="{52DD5EC6-ABA9-39E6-B35C-F4F37CCBB641}"/>
          </ac:graphicFrameMkLst>
        </pc:graphicFrameChg>
      </pc:sldChg>
      <pc:sldChg chg="modSp add mod">
        <pc:chgData name="Mark Almirante (JDA PARTNERS TECHNICAL SERVICE)" userId="11b5fb94-1827-4228-a31f-331aae5ce8b5" providerId="ADAL" clId="{3F3C093C-9FF4-4990-8097-3CA67163E5C2}" dt="2024-03-15T14:47:48.115" v="4644" actId="20577"/>
        <pc:sldMkLst>
          <pc:docMk/>
          <pc:sldMk cId="3190624428" sldId="2147478866"/>
        </pc:sldMkLst>
        <pc:spChg chg="mod">
          <ac:chgData name="Mark Almirante (JDA PARTNERS TECHNICAL SERVICE)" userId="11b5fb94-1827-4228-a31f-331aae5ce8b5" providerId="ADAL" clId="{3F3C093C-9FF4-4990-8097-3CA67163E5C2}" dt="2024-03-15T14:47:48.115" v="4644" actId="20577"/>
          <ac:spMkLst>
            <pc:docMk/>
            <pc:sldMk cId="3190624428" sldId="2147478866"/>
            <ac:spMk id="5" creationId="{EEFC8789-965F-4AB8-E134-6503FE1C5E78}"/>
          </ac:spMkLst>
        </pc:spChg>
        <pc:spChg chg="mod">
          <ac:chgData name="Mark Almirante (JDA PARTNERS TECHNICAL SERVICE)" userId="11b5fb94-1827-4228-a31f-331aae5ce8b5" providerId="ADAL" clId="{3F3C093C-9FF4-4990-8097-3CA67163E5C2}" dt="2024-03-15T05:27:04.568" v="3462" actId="20577"/>
          <ac:spMkLst>
            <pc:docMk/>
            <pc:sldMk cId="3190624428" sldId="2147478866"/>
            <ac:spMk id="21" creationId="{95AE0D01-57A6-4D2F-A9D8-27E23358C2BC}"/>
          </ac:spMkLst>
        </pc:spChg>
      </pc:sldChg>
      <pc:sldChg chg="add">
        <pc:chgData name="Mark Almirante (JDA PARTNERS TECHNICAL SERVICE)" userId="11b5fb94-1827-4228-a31f-331aae5ce8b5" providerId="ADAL" clId="{3F3C093C-9FF4-4990-8097-3CA67163E5C2}" dt="2024-03-15T13:21:26.514" v="4131" actId="2890"/>
        <pc:sldMkLst>
          <pc:docMk/>
          <pc:sldMk cId="2459482504" sldId="2147478867"/>
        </pc:sldMkLst>
      </pc:sldChg>
      <pc:sldChg chg="modSp add mod">
        <pc:chgData name="Mark Almirante (JDA PARTNERS TECHNICAL SERVICE)" userId="11b5fb94-1827-4228-a31f-331aae5ce8b5" providerId="ADAL" clId="{3F3C093C-9FF4-4990-8097-3CA67163E5C2}" dt="2024-03-22T15:29:11.301" v="4852" actId="207"/>
        <pc:sldMkLst>
          <pc:docMk/>
          <pc:sldMk cId="2132416617" sldId="2147478868"/>
        </pc:sldMkLst>
        <pc:spChg chg="mod">
          <ac:chgData name="Mark Almirante (JDA PARTNERS TECHNICAL SERVICE)" userId="11b5fb94-1827-4228-a31f-331aae5ce8b5" providerId="ADAL" clId="{3F3C093C-9FF4-4990-8097-3CA67163E5C2}" dt="2024-03-22T15:27:25.780" v="4714" actId="20577"/>
          <ac:spMkLst>
            <pc:docMk/>
            <pc:sldMk cId="2132416617" sldId="2147478868"/>
            <ac:spMk id="2" creationId="{BE100BD9-3C9C-A10A-B346-4CF2A37887A2}"/>
          </ac:spMkLst>
        </pc:spChg>
        <pc:graphicFrameChg chg="mod modGraphic">
          <ac:chgData name="Mark Almirante (JDA PARTNERS TECHNICAL SERVICE)" userId="11b5fb94-1827-4228-a31f-331aae5ce8b5" providerId="ADAL" clId="{3F3C093C-9FF4-4990-8097-3CA67163E5C2}" dt="2024-03-22T15:29:11.301" v="4852" actId="207"/>
          <ac:graphicFrameMkLst>
            <pc:docMk/>
            <pc:sldMk cId="2132416617" sldId="2147478868"/>
            <ac:graphicFrameMk id="4" creationId="{C694D4C5-E675-D5CB-7C10-9975CB3C66DF}"/>
          </ac:graphicFrameMkLst>
        </pc:graphicFrameChg>
      </pc:sldChg>
      <pc:sldMasterChg chg="delSldLayout">
        <pc:chgData name="Mark Almirante (JDA PARTNERS TECHNICAL SERVICE)" userId="11b5fb94-1827-4228-a31f-331aae5ce8b5" providerId="ADAL" clId="{3F3C093C-9FF4-4990-8097-3CA67163E5C2}" dt="2024-03-15T02:12:14.983" v="3036" actId="47"/>
        <pc:sldMasterMkLst>
          <pc:docMk/>
          <pc:sldMasterMk cId="658564112" sldId="2147483648"/>
        </pc:sldMasterMkLst>
        <pc:sldLayoutChg chg="del">
          <pc:chgData name="Mark Almirante (JDA PARTNERS TECHNICAL SERVICE)" userId="11b5fb94-1827-4228-a31f-331aae5ce8b5" providerId="ADAL" clId="{3F3C093C-9FF4-4990-8097-3CA67163E5C2}" dt="2024-03-15T02:12:14.983" v="3036" actId="47"/>
          <pc:sldLayoutMkLst>
            <pc:docMk/>
            <pc:sldMasterMk cId="658564112" sldId="2147483648"/>
            <pc:sldLayoutMk cId="2116434401" sldId="2147483661"/>
          </pc:sldLayoutMkLst>
        </pc:sldLayoutChg>
      </pc:sldMasterChg>
      <pc:sldMasterChg chg="delSldLayout">
        <pc:chgData name="Mark Almirante (JDA PARTNERS TECHNICAL SERVICE)" userId="11b5fb94-1827-4228-a31f-331aae5ce8b5" providerId="ADAL" clId="{3F3C093C-9FF4-4990-8097-3CA67163E5C2}" dt="2024-03-15T02:12:14.983" v="3036" actId="47"/>
        <pc:sldMasterMkLst>
          <pc:docMk/>
          <pc:sldMasterMk cId="79224983" sldId="2147483662"/>
        </pc:sldMasterMkLst>
        <pc:sldLayoutChg chg="del">
          <pc:chgData name="Mark Almirante (JDA PARTNERS TECHNICAL SERVICE)" userId="11b5fb94-1827-4228-a31f-331aae5ce8b5" providerId="ADAL" clId="{3F3C093C-9FF4-4990-8097-3CA67163E5C2}" dt="2024-03-15T02:12:14.983" v="3036" actId="47"/>
          <pc:sldLayoutMkLst>
            <pc:docMk/>
            <pc:sldMasterMk cId="79224983" sldId="2147483662"/>
            <pc:sldLayoutMk cId="2448616937" sldId="2147483710"/>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EA7DEE-DB8E-408D-B6A7-38CC31D6268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CA"/>
        </a:p>
      </dgm:t>
    </dgm:pt>
    <dgm:pt modelId="{EE9DFD1C-BC2B-4F40-A1A6-7607797165F9}">
      <dgm:prSet phldrT="[Text]"/>
      <dgm:spPr>
        <a:solidFill>
          <a:srgbClr val="0070C0"/>
        </a:solidFill>
      </dgm:spPr>
      <dgm:t>
        <a:bodyPr/>
        <a:lstStyle/>
        <a:p>
          <a:r>
            <a:rPr lang="en-CA" dirty="0"/>
            <a:t>Instance-level Setting</a:t>
          </a:r>
        </a:p>
      </dgm:t>
    </dgm:pt>
    <dgm:pt modelId="{FF2F544D-477D-4B97-804F-FD247B5F29BF}" type="parTrans" cxnId="{8860B0EF-2B84-4895-9DED-667E22B2798F}">
      <dgm:prSet/>
      <dgm:spPr/>
      <dgm:t>
        <a:bodyPr/>
        <a:lstStyle/>
        <a:p>
          <a:endParaRPr lang="en-CA"/>
        </a:p>
      </dgm:t>
    </dgm:pt>
    <dgm:pt modelId="{DE06BD45-D782-46C3-87F5-483E8449F7C2}" type="sibTrans" cxnId="{8860B0EF-2B84-4895-9DED-667E22B2798F}">
      <dgm:prSet/>
      <dgm:spPr/>
      <dgm:t>
        <a:bodyPr/>
        <a:lstStyle/>
        <a:p>
          <a:endParaRPr lang="en-CA"/>
        </a:p>
      </dgm:t>
    </dgm:pt>
    <dgm:pt modelId="{4D900E72-306C-4009-9B24-BA05FC0D83A5}">
      <dgm:prSet phldrT="[Text]"/>
      <dgm:spPr>
        <a:solidFill>
          <a:srgbClr val="0070C0"/>
        </a:solidFill>
      </dgm:spPr>
      <dgm:t>
        <a:bodyPr/>
        <a:lstStyle/>
        <a:p>
          <a:r>
            <a:rPr lang="en-CA" dirty="0"/>
            <a:t>Threshold at which a parallel plan is considered</a:t>
          </a:r>
        </a:p>
      </dgm:t>
    </dgm:pt>
    <dgm:pt modelId="{69D5D36B-3A69-4709-99E8-7F43A47E6D2A}" type="parTrans" cxnId="{0FCF6215-836F-473B-8736-3BFBA7465EBC}">
      <dgm:prSet/>
      <dgm:spPr/>
      <dgm:t>
        <a:bodyPr/>
        <a:lstStyle/>
        <a:p>
          <a:endParaRPr lang="en-CA"/>
        </a:p>
      </dgm:t>
    </dgm:pt>
    <dgm:pt modelId="{BFDBB7CF-FB23-4269-AEB9-3102C6E7FA68}" type="sibTrans" cxnId="{0FCF6215-836F-473B-8736-3BFBA7465EBC}">
      <dgm:prSet/>
      <dgm:spPr/>
      <dgm:t>
        <a:bodyPr/>
        <a:lstStyle/>
        <a:p>
          <a:endParaRPr lang="en-CA"/>
        </a:p>
      </dgm:t>
    </dgm:pt>
    <dgm:pt modelId="{75BE7B00-2F3D-4772-B881-A586F2392C33}">
      <dgm:prSet phldrT="[Text]"/>
      <dgm:spPr>
        <a:solidFill>
          <a:srgbClr val="0070C0"/>
        </a:solidFill>
      </dgm:spPr>
      <dgm:t>
        <a:bodyPr/>
        <a:lstStyle/>
        <a:p>
          <a:r>
            <a:rPr lang="en-CA" dirty="0"/>
            <a:t>Can be set from 0 to 32767</a:t>
          </a:r>
        </a:p>
      </dgm:t>
    </dgm:pt>
    <dgm:pt modelId="{F77F1CC9-E50C-409C-B764-96D2D2BF73D1}" type="parTrans" cxnId="{281C9A6D-A147-4CEF-90D5-303DABBADA28}">
      <dgm:prSet/>
      <dgm:spPr/>
      <dgm:t>
        <a:bodyPr/>
        <a:lstStyle/>
        <a:p>
          <a:endParaRPr lang="en-CA"/>
        </a:p>
      </dgm:t>
    </dgm:pt>
    <dgm:pt modelId="{D4A31D30-6E66-46A4-ACD6-5C626E8D6DA6}" type="sibTrans" cxnId="{281C9A6D-A147-4CEF-90D5-303DABBADA28}">
      <dgm:prSet/>
      <dgm:spPr/>
      <dgm:t>
        <a:bodyPr/>
        <a:lstStyle/>
        <a:p>
          <a:endParaRPr lang="en-CA"/>
        </a:p>
      </dgm:t>
    </dgm:pt>
    <dgm:pt modelId="{5047CC19-D4DE-4318-B7DF-3A389A326E53}">
      <dgm:prSet phldrT="[Text]"/>
      <dgm:spPr>
        <a:solidFill>
          <a:srgbClr val="0070C0"/>
        </a:solidFill>
      </dgm:spPr>
      <dgm:t>
        <a:bodyPr/>
        <a:lstStyle/>
        <a:p>
          <a:r>
            <a:rPr lang="en-CA" dirty="0"/>
            <a:t>Default = 5</a:t>
          </a:r>
        </a:p>
      </dgm:t>
    </dgm:pt>
    <dgm:pt modelId="{2930875F-46FC-49CE-A465-380BE25D1110}" type="parTrans" cxnId="{AA67F524-F26B-45E4-B8B8-545FCCEE7252}">
      <dgm:prSet/>
      <dgm:spPr/>
      <dgm:t>
        <a:bodyPr/>
        <a:lstStyle/>
        <a:p>
          <a:endParaRPr lang="en-CA"/>
        </a:p>
      </dgm:t>
    </dgm:pt>
    <dgm:pt modelId="{2D2B7275-F465-4DD9-BB9C-9FD8E615D3CA}" type="sibTrans" cxnId="{AA67F524-F26B-45E4-B8B8-545FCCEE7252}">
      <dgm:prSet/>
      <dgm:spPr/>
      <dgm:t>
        <a:bodyPr/>
        <a:lstStyle/>
        <a:p>
          <a:endParaRPr lang="en-CA"/>
        </a:p>
      </dgm:t>
    </dgm:pt>
    <dgm:pt modelId="{41C9E9BA-08B7-4F77-8091-6A78A33EE77D}">
      <dgm:prSet phldrT="[Text]"/>
      <dgm:spPr>
        <a:solidFill>
          <a:srgbClr val="0070C0"/>
        </a:solidFill>
      </dgm:spPr>
      <dgm:t>
        <a:bodyPr/>
        <a:lstStyle/>
        <a:p>
          <a:r>
            <a:rPr lang="en-CA" dirty="0"/>
            <a:t>Compared against estimated subtree cost of the entire </a:t>
          </a:r>
          <a:r>
            <a:rPr lang="en-CA" u="sng" dirty="0"/>
            <a:t>serial</a:t>
          </a:r>
          <a:r>
            <a:rPr lang="en-CA" dirty="0"/>
            <a:t> plan (not one operator)</a:t>
          </a:r>
        </a:p>
      </dgm:t>
    </dgm:pt>
    <dgm:pt modelId="{3F260122-D43C-4D99-8DAB-96A849833BCB}" type="parTrans" cxnId="{890A7957-1AD7-4422-82E3-898100151FBB}">
      <dgm:prSet/>
      <dgm:spPr/>
      <dgm:t>
        <a:bodyPr/>
        <a:lstStyle/>
        <a:p>
          <a:endParaRPr lang="en-CA"/>
        </a:p>
      </dgm:t>
    </dgm:pt>
    <dgm:pt modelId="{66E865F4-906B-416D-9BCA-466B77903DFA}" type="sibTrans" cxnId="{890A7957-1AD7-4422-82E3-898100151FBB}">
      <dgm:prSet/>
      <dgm:spPr/>
      <dgm:t>
        <a:bodyPr/>
        <a:lstStyle/>
        <a:p>
          <a:endParaRPr lang="en-CA"/>
        </a:p>
      </dgm:t>
    </dgm:pt>
    <dgm:pt modelId="{3BAF5DD3-F277-43FA-B349-893A61D2A8CB}">
      <dgm:prSet phldrT="[Text]"/>
      <dgm:spPr>
        <a:solidFill>
          <a:srgbClr val="0070C0"/>
        </a:solidFill>
      </dgm:spPr>
      <dgm:t>
        <a:bodyPr/>
        <a:lstStyle/>
        <a:p>
          <a:r>
            <a:rPr lang="en-CA" dirty="0"/>
            <a:t>Abstracted unit of cost (not time!)</a:t>
          </a:r>
        </a:p>
      </dgm:t>
    </dgm:pt>
    <dgm:pt modelId="{33B7EE8A-39F6-4012-8008-656B201D3003}" type="parTrans" cxnId="{88331F89-719E-4C23-B7B9-A7A8EFC3D9F0}">
      <dgm:prSet/>
      <dgm:spPr/>
      <dgm:t>
        <a:bodyPr/>
        <a:lstStyle/>
        <a:p>
          <a:endParaRPr lang="en-CA"/>
        </a:p>
      </dgm:t>
    </dgm:pt>
    <dgm:pt modelId="{7C260BAC-FEB3-43B6-BC70-C9C335D23B9F}" type="sibTrans" cxnId="{88331F89-719E-4C23-B7B9-A7A8EFC3D9F0}">
      <dgm:prSet/>
      <dgm:spPr/>
      <dgm:t>
        <a:bodyPr/>
        <a:lstStyle/>
        <a:p>
          <a:endParaRPr lang="en-CA"/>
        </a:p>
      </dgm:t>
    </dgm:pt>
    <dgm:pt modelId="{1D452DAD-1072-481C-8053-4EDE8AE09FA0}">
      <dgm:prSet phldrT="[Text]"/>
      <dgm:spPr>
        <a:solidFill>
          <a:srgbClr val="0070C0"/>
        </a:solidFill>
      </dgm:spPr>
      <dgm:t>
        <a:bodyPr/>
        <a:lstStyle/>
        <a:p>
          <a:r>
            <a:rPr lang="en-CA" dirty="0"/>
            <a:t>Lower value = induce parallelism; Higher value = inhibits parallelism</a:t>
          </a:r>
        </a:p>
      </dgm:t>
    </dgm:pt>
    <dgm:pt modelId="{23B5D30E-28EE-4192-BCCE-124D51285DC2}" type="parTrans" cxnId="{4FC64379-BE8F-4FD1-9359-9E3B19EECE25}">
      <dgm:prSet/>
      <dgm:spPr/>
      <dgm:t>
        <a:bodyPr/>
        <a:lstStyle/>
        <a:p>
          <a:endParaRPr lang="en-CA"/>
        </a:p>
      </dgm:t>
    </dgm:pt>
    <dgm:pt modelId="{20F9C449-66AE-42DE-9F70-44742EE8FE81}" type="sibTrans" cxnId="{4FC64379-BE8F-4FD1-9359-9E3B19EECE25}">
      <dgm:prSet/>
      <dgm:spPr/>
      <dgm:t>
        <a:bodyPr/>
        <a:lstStyle/>
        <a:p>
          <a:endParaRPr lang="en-CA"/>
        </a:p>
      </dgm:t>
    </dgm:pt>
    <dgm:pt modelId="{C88065D5-DC0B-44A1-91D4-C7A8738C9776}">
      <dgm:prSet phldrT="[Text]"/>
      <dgm:spPr>
        <a:solidFill>
          <a:srgbClr val="0070C0"/>
        </a:solidFill>
      </dgm:spPr>
      <dgm:t>
        <a:bodyPr/>
        <a:lstStyle/>
        <a:p>
          <a:r>
            <a:rPr lang="en-CA" dirty="0"/>
            <a:t>Changing this setting does not require a restart</a:t>
          </a:r>
        </a:p>
      </dgm:t>
    </dgm:pt>
    <dgm:pt modelId="{7FFFF28E-817C-4298-B831-453E70C72307}" type="parTrans" cxnId="{32087E9B-46D9-42FC-AA68-7F941AA4735B}">
      <dgm:prSet/>
      <dgm:spPr/>
      <dgm:t>
        <a:bodyPr/>
        <a:lstStyle/>
        <a:p>
          <a:endParaRPr lang="en-CA"/>
        </a:p>
      </dgm:t>
    </dgm:pt>
    <dgm:pt modelId="{0E56FC17-80B8-44EB-BE71-4A84129F45B1}" type="sibTrans" cxnId="{32087E9B-46D9-42FC-AA68-7F941AA4735B}">
      <dgm:prSet/>
      <dgm:spPr/>
      <dgm:t>
        <a:bodyPr/>
        <a:lstStyle/>
        <a:p>
          <a:endParaRPr lang="en-CA"/>
        </a:p>
      </dgm:t>
    </dgm:pt>
    <dgm:pt modelId="{EE45E630-8A4E-4594-8633-D19965F7319E}" type="pres">
      <dgm:prSet presAssocID="{76EA7DEE-DB8E-408D-B6A7-38CC31D6268D}" presName="diagram" presStyleCnt="0">
        <dgm:presLayoutVars>
          <dgm:dir/>
          <dgm:resizeHandles val="exact"/>
        </dgm:presLayoutVars>
      </dgm:prSet>
      <dgm:spPr/>
    </dgm:pt>
    <dgm:pt modelId="{2BD01ADF-20ED-42CF-BF7B-06FD0BA6DAA1}" type="pres">
      <dgm:prSet presAssocID="{EE9DFD1C-BC2B-4F40-A1A6-7607797165F9}" presName="node" presStyleLbl="node1" presStyleIdx="0" presStyleCnt="8">
        <dgm:presLayoutVars>
          <dgm:bulletEnabled val="1"/>
        </dgm:presLayoutVars>
      </dgm:prSet>
      <dgm:spPr/>
    </dgm:pt>
    <dgm:pt modelId="{4596D1C3-D9AD-42D4-9844-2504389AAFD9}" type="pres">
      <dgm:prSet presAssocID="{DE06BD45-D782-46C3-87F5-483E8449F7C2}" presName="sibTrans" presStyleCnt="0"/>
      <dgm:spPr/>
    </dgm:pt>
    <dgm:pt modelId="{246A108E-222E-46ED-9CBA-C1D1AB8A8CD6}" type="pres">
      <dgm:prSet presAssocID="{4D900E72-306C-4009-9B24-BA05FC0D83A5}" presName="node" presStyleLbl="node1" presStyleIdx="1" presStyleCnt="8">
        <dgm:presLayoutVars>
          <dgm:bulletEnabled val="1"/>
        </dgm:presLayoutVars>
      </dgm:prSet>
      <dgm:spPr/>
    </dgm:pt>
    <dgm:pt modelId="{70611B15-2F4C-41D2-A1CF-F0AB7B7A8417}" type="pres">
      <dgm:prSet presAssocID="{BFDBB7CF-FB23-4269-AEB9-3102C6E7FA68}" presName="sibTrans" presStyleCnt="0"/>
      <dgm:spPr/>
    </dgm:pt>
    <dgm:pt modelId="{4E088183-E212-44EA-B883-C131AB78A524}" type="pres">
      <dgm:prSet presAssocID="{75BE7B00-2F3D-4772-B881-A586F2392C33}" presName="node" presStyleLbl="node1" presStyleIdx="2" presStyleCnt="8">
        <dgm:presLayoutVars>
          <dgm:bulletEnabled val="1"/>
        </dgm:presLayoutVars>
      </dgm:prSet>
      <dgm:spPr/>
    </dgm:pt>
    <dgm:pt modelId="{C47EE021-04B9-40E5-B7C2-FA01E6725980}" type="pres">
      <dgm:prSet presAssocID="{D4A31D30-6E66-46A4-ACD6-5C626E8D6DA6}" presName="sibTrans" presStyleCnt="0"/>
      <dgm:spPr/>
    </dgm:pt>
    <dgm:pt modelId="{C9C9E5E8-2FE6-4CB4-9498-8EA4A40B05AD}" type="pres">
      <dgm:prSet presAssocID="{5047CC19-D4DE-4318-B7DF-3A389A326E53}" presName="node" presStyleLbl="node1" presStyleIdx="3" presStyleCnt="8">
        <dgm:presLayoutVars>
          <dgm:bulletEnabled val="1"/>
        </dgm:presLayoutVars>
      </dgm:prSet>
      <dgm:spPr/>
    </dgm:pt>
    <dgm:pt modelId="{C5DC7010-F98A-4F05-B815-D5AC84840D99}" type="pres">
      <dgm:prSet presAssocID="{2D2B7275-F465-4DD9-BB9C-9FD8E615D3CA}" presName="sibTrans" presStyleCnt="0"/>
      <dgm:spPr/>
    </dgm:pt>
    <dgm:pt modelId="{A30DA555-2B35-43C1-AEAA-2AF5B92423FC}" type="pres">
      <dgm:prSet presAssocID="{3BAF5DD3-F277-43FA-B349-893A61D2A8CB}" presName="node" presStyleLbl="node1" presStyleIdx="4" presStyleCnt="8">
        <dgm:presLayoutVars>
          <dgm:bulletEnabled val="1"/>
        </dgm:presLayoutVars>
      </dgm:prSet>
      <dgm:spPr/>
    </dgm:pt>
    <dgm:pt modelId="{DC0A1D49-231A-4A8A-8016-349309B843E1}" type="pres">
      <dgm:prSet presAssocID="{7C260BAC-FEB3-43B6-BC70-C9C335D23B9F}" presName="sibTrans" presStyleCnt="0"/>
      <dgm:spPr/>
    </dgm:pt>
    <dgm:pt modelId="{F87020B2-EED1-4C9F-9E36-5021B0E80383}" type="pres">
      <dgm:prSet presAssocID="{41C9E9BA-08B7-4F77-8091-6A78A33EE77D}" presName="node" presStyleLbl="node1" presStyleIdx="5" presStyleCnt="8">
        <dgm:presLayoutVars>
          <dgm:bulletEnabled val="1"/>
        </dgm:presLayoutVars>
      </dgm:prSet>
      <dgm:spPr/>
    </dgm:pt>
    <dgm:pt modelId="{BEA4747D-308D-43A5-89DF-14D6BCEE41A0}" type="pres">
      <dgm:prSet presAssocID="{66E865F4-906B-416D-9BCA-466B77903DFA}" presName="sibTrans" presStyleCnt="0"/>
      <dgm:spPr/>
    </dgm:pt>
    <dgm:pt modelId="{4CE46323-A8A1-4570-926B-4DBD609DC95F}" type="pres">
      <dgm:prSet presAssocID="{1D452DAD-1072-481C-8053-4EDE8AE09FA0}" presName="node" presStyleLbl="node1" presStyleIdx="6" presStyleCnt="8">
        <dgm:presLayoutVars>
          <dgm:bulletEnabled val="1"/>
        </dgm:presLayoutVars>
      </dgm:prSet>
      <dgm:spPr/>
    </dgm:pt>
    <dgm:pt modelId="{3E599D96-F32C-43A7-9BF6-C2550F81AC0D}" type="pres">
      <dgm:prSet presAssocID="{20F9C449-66AE-42DE-9F70-44742EE8FE81}" presName="sibTrans" presStyleCnt="0"/>
      <dgm:spPr/>
    </dgm:pt>
    <dgm:pt modelId="{750336D2-D6D9-43EB-8399-A55D14B30247}" type="pres">
      <dgm:prSet presAssocID="{C88065D5-DC0B-44A1-91D4-C7A8738C9776}" presName="node" presStyleLbl="node1" presStyleIdx="7" presStyleCnt="8">
        <dgm:presLayoutVars>
          <dgm:bulletEnabled val="1"/>
        </dgm:presLayoutVars>
      </dgm:prSet>
      <dgm:spPr/>
    </dgm:pt>
  </dgm:ptLst>
  <dgm:cxnLst>
    <dgm:cxn modelId="{0FCF6215-836F-473B-8736-3BFBA7465EBC}" srcId="{76EA7DEE-DB8E-408D-B6A7-38CC31D6268D}" destId="{4D900E72-306C-4009-9B24-BA05FC0D83A5}" srcOrd="1" destOrd="0" parTransId="{69D5D36B-3A69-4709-99E8-7F43A47E6D2A}" sibTransId="{BFDBB7CF-FB23-4269-AEB9-3102C6E7FA68}"/>
    <dgm:cxn modelId="{AEC51624-7397-47B5-86FE-C35A3CABE91A}" type="presOf" srcId="{41C9E9BA-08B7-4F77-8091-6A78A33EE77D}" destId="{F87020B2-EED1-4C9F-9E36-5021B0E80383}" srcOrd="0" destOrd="0" presId="urn:microsoft.com/office/officeart/2005/8/layout/default"/>
    <dgm:cxn modelId="{AA67F524-F26B-45E4-B8B8-545FCCEE7252}" srcId="{76EA7DEE-DB8E-408D-B6A7-38CC31D6268D}" destId="{5047CC19-D4DE-4318-B7DF-3A389A326E53}" srcOrd="3" destOrd="0" parTransId="{2930875F-46FC-49CE-A465-380BE25D1110}" sibTransId="{2D2B7275-F465-4DD9-BB9C-9FD8E615D3CA}"/>
    <dgm:cxn modelId="{F7B67528-1394-427F-AB8A-7E97D694E649}" type="presOf" srcId="{75BE7B00-2F3D-4772-B881-A586F2392C33}" destId="{4E088183-E212-44EA-B883-C131AB78A524}" srcOrd="0" destOrd="0" presId="urn:microsoft.com/office/officeart/2005/8/layout/default"/>
    <dgm:cxn modelId="{B9559841-4E41-4A1E-8C3A-7D734F1ED3C7}" type="presOf" srcId="{3BAF5DD3-F277-43FA-B349-893A61D2A8CB}" destId="{A30DA555-2B35-43C1-AEAA-2AF5B92423FC}" srcOrd="0" destOrd="0" presId="urn:microsoft.com/office/officeart/2005/8/layout/default"/>
    <dgm:cxn modelId="{281C9A6D-A147-4CEF-90D5-303DABBADA28}" srcId="{76EA7DEE-DB8E-408D-B6A7-38CC31D6268D}" destId="{75BE7B00-2F3D-4772-B881-A586F2392C33}" srcOrd="2" destOrd="0" parTransId="{F77F1CC9-E50C-409C-B764-96D2D2BF73D1}" sibTransId="{D4A31D30-6E66-46A4-ACD6-5C626E8D6DA6}"/>
    <dgm:cxn modelId="{FC7FA36F-F40E-45FF-9718-62F77A2B11D1}" type="presOf" srcId="{5047CC19-D4DE-4318-B7DF-3A389A326E53}" destId="{C9C9E5E8-2FE6-4CB4-9498-8EA4A40B05AD}" srcOrd="0" destOrd="0" presId="urn:microsoft.com/office/officeart/2005/8/layout/default"/>
    <dgm:cxn modelId="{890A7957-1AD7-4422-82E3-898100151FBB}" srcId="{76EA7DEE-DB8E-408D-B6A7-38CC31D6268D}" destId="{41C9E9BA-08B7-4F77-8091-6A78A33EE77D}" srcOrd="5" destOrd="0" parTransId="{3F260122-D43C-4D99-8DAB-96A849833BCB}" sibTransId="{66E865F4-906B-416D-9BCA-466B77903DFA}"/>
    <dgm:cxn modelId="{4FC64379-BE8F-4FD1-9359-9E3B19EECE25}" srcId="{76EA7DEE-DB8E-408D-B6A7-38CC31D6268D}" destId="{1D452DAD-1072-481C-8053-4EDE8AE09FA0}" srcOrd="6" destOrd="0" parTransId="{23B5D30E-28EE-4192-BCCE-124D51285DC2}" sibTransId="{20F9C449-66AE-42DE-9F70-44742EE8FE81}"/>
    <dgm:cxn modelId="{AC7D7287-903D-41CE-A9B3-3C75E1C0A459}" type="presOf" srcId="{4D900E72-306C-4009-9B24-BA05FC0D83A5}" destId="{246A108E-222E-46ED-9CBA-C1D1AB8A8CD6}" srcOrd="0" destOrd="0" presId="urn:microsoft.com/office/officeart/2005/8/layout/default"/>
    <dgm:cxn modelId="{88331F89-719E-4C23-B7B9-A7A8EFC3D9F0}" srcId="{76EA7DEE-DB8E-408D-B6A7-38CC31D6268D}" destId="{3BAF5DD3-F277-43FA-B349-893A61D2A8CB}" srcOrd="4" destOrd="0" parTransId="{33B7EE8A-39F6-4012-8008-656B201D3003}" sibTransId="{7C260BAC-FEB3-43B6-BC70-C9C335D23B9F}"/>
    <dgm:cxn modelId="{F5B72494-34FC-48F2-919A-7BFCA4E8190C}" type="presOf" srcId="{1D452DAD-1072-481C-8053-4EDE8AE09FA0}" destId="{4CE46323-A8A1-4570-926B-4DBD609DC95F}" srcOrd="0" destOrd="0" presId="urn:microsoft.com/office/officeart/2005/8/layout/default"/>
    <dgm:cxn modelId="{32087E9B-46D9-42FC-AA68-7F941AA4735B}" srcId="{76EA7DEE-DB8E-408D-B6A7-38CC31D6268D}" destId="{C88065D5-DC0B-44A1-91D4-C7A8738C9776}" srcOrd="7" destOrd="0" parTransId="{7FFFF28E-817C-4298-B831-453E70C72307}" sibTransId="{0E56FC17-80B8-44EB-BE71-4A84129F45B1}"/>
    <dgm:cxn modelId="{121F7EB6-C418-4DB5-98B9-79316518D6C9}" type="presOf" srcId="{76EA7DEE-DB8E-408D-B6A7-38CC31D6268D}" destId="{EE45E630-8A4E-4594-8633-D19965F7319E}" srcOrd="0" destOrd="0" presId="urn:microsoft.com/office/officeart/2005/8/layout/default"/>
    <dgm:cxn modelId="{61D479DA-324F-46EE-BB22-CDAA94A869CF}" type="presOf" srcId="{EE9DFD1C-BC2B-4F40-A1A6-7607797165F9}" destId="{2BD01ADF-20ED-42CF-BF7B-06FD0BA6DAA1}" srcOrd="0" destOrd="0" presId="urn:microsoft.com/office/officeart/2005/8/layout/default"/>
    <dgm:cxn modelId="{8860B0EF-2B84-4895-9DED-667E22B2798F}" srcId="{76EA7DEE-DB8E-408D-B6A7-38CC31D6268D}" destId="{EE9DFD1C-BC2B-4F40-A1A6-7607797165F9}" srcOrd="0" destOrd="0" parTransId="{FF2F544D-477D-4B97-804F-FD247B5F29BF}" sibTransId="{DE06BD45-D782-46C3-87F5-483E8449F7C2}"/>
    <dgm:cxn modelId="{B557D7F3-7864-4EFF-A02E-4DF117D25FAD}" type="presOf" srcId="{C88065D5-DC0B-44A1-91D4-C7A8738C9776}" destId="{750336D2-D6D9-43EB-8399-A55D14B30247}" srcOrd="0" destOrd="0" presId="urn:microsoft.com/office/officeart/2005/8/layout/default"/>
    <dgm:cxn modelId="{D4407C75-EBD5-4C04-A549-7D08E682CB0D}" type="presParOf" srcId="{EE45E630-8A4E-4594-8633-D19965F7319E}" destId="{2BD01ADF-20ED-42CF-BF7B-06FD0BA6DAA1}" srcOrd="0" destOrd="0" presId="urn:microsoft.com/office/officeart/2005/8/layout/default"/>
    <dgm:cxn modelId="{D3F688A1-29FC-45F6-9ACE-A0FBA8824539}" type="presParOf" srcId="{EE45E630-8A4E-4594-8633-D19965F7319E}" destId="{4596D1C3-D9AD-42D4-9844-2504389AAFD9}" srcOrd="1" destOrd="0" presId="urn:microsoft.com/office/officeart/2005/8/layout/default"/>
    <dgm:cxn modelId="{5C9D36BF-EC07-47C6-BF8A-ADE77215D058}" type="presParOf" srcId="{EE45E630-8A4E-4594-8633-D19965F7319E}" destId="{246A108E-222E-46ED-9CBA-C1D1AB8A8CD6}" srcOrd="2" destOrd="0" presId="urn:microsoft.com/office/officeart/2005/8/layout/default"/>
    <dgm:cxn modelId="{A1755F7F-2E5E-499F-A285-448F300BF711}" type="presParOf" srcId="{EE45E630-8A4E-4594-8633-D19965F7319E}" destId="{70611B15-2F4C-41D2-A1CF-F0AB7B7A8417}" srcOrd="3" destOrd="0" presId="urn:microsoft.com/office/officeart/2005/8/layout/default"/>
    <dgm:cxn modelId="{9B527B28-8EBF-4710-89EF-92BD6CA017C5}" type="presParOf" srcId="{EE45E630-8A4E-4594-8633-D19965F7319E}" destId="{4E088183-E212-44EA-B883-C131AB78A524}" srcOrd="4" destOrd="0" presId="urn:microsoft.com/office/officeart/2005/8/layout/default"/>
    <dgm:cxn modelId="{1EF660DD-A2A7-401E-9D51-283DA53539E1}" type="presParOf" srcId="{EE45E630-8A4E-4594-8633-D19965F7319E}" destId="{C47EE021-04B9-40E5-B7C2-FA01E6725980}" srcOrd="5" destOrd="0" presId="urn:microsoft.com/office/officeart/2005/8/layout/default"/>
    <dgm:cxn modelId="{31E187F2-99DF-49B2-8815-FBCC3415B805}" type="presParOf" srcId="{EE45E630-8A4E-4594-8633-D19965F7319E}" destId="{C9C9E5E8-2FE6-4CB4-9498-8EA4A40B05AD}" srcOrd="6" destOrd="0" presId="urn:microsoft.com/office/officeart/2005/8/layout/default"/>
    <dgm:cxn modelId="{FE60C9F2-FBAC-4439-AE26-8527133F8B39}" type="presParOf" srcId="{EE45E630-8A4E-4594-8633-D19965F7319E}" destId="{C5DC7010-F98A-4F05-B815-D5AC84840D99}" srcOrd="7" destOrd="0" presId="urn:microsoft.com/office/officeart/2005/8/layout/default"/>
    <dgm:cxn modelId="{DE821DB9-68EC-406C-A02D-0068E3BA7B01}" type="presParOf" srcId="{EE45E630-8A4E-4594-8633-D19965F7319E}" destId="{A30DA555-2B35-43C1-AEAA-2AF5B92423FC}" srcOrd="8" destOrd="0" presId="urn:microsoft.com/office/officeart/2005/8/layout/default"/>
    <dgm:cxn modelId="{3EFBC6BE-92E1-4759-B381-76872E1CA178}" type="presParOf" srcId="{EE45E630-8A4E-4594-8633-D19965F7319E}" destId="{DC0A1D49-231A-4A8A-8016-349309B843E1}" srcOrd="9" destOrd="0" presId="urn:microsoft.com/office/officeart/2005/8/layout/default"/>
    <dgm:cxn modelId="{8E660AE8-7956-4F37-9959-CDA2C0FE08F4}" type="presParOf" srcId="{EE45E630-8A4E-4594-8633-D19965F7319E}" destId="{F87020B2-EED1-4C9F-9E36-5021B0E80383}" srcOrd="10" destOrd="0" presId="urn:microsoft.com/office/officeart/2005/8/layout/default"/>
    <dgm:cxn modelId="{D077AB93-4F02-4489-8F73-7BBB02E7D526}" type="presParOf" srcId="{EE45E630-8A4E-4594-8633-D19965F7319E}" destId="{BEA4747D-308D-43A5-89DF-14D6BCEE41A0}" srcOrd="11" destOrd="0" presId="urn:microsoft.com/office/officeart/2005/8/layout/default"/>
    <dgm:cxn modelId="{AC95657F-5CCF-461B-94F2-204C0E9662BE}" type="presParOf" srcId="{EE45E630-8A4E-4594-8633-D19965F7319E}" destId="{4CE46323-A8A1-4570-926B-4DBD609DC95F}" srcOrd="12" destOrd="0" presId="urn:microsoft.com/office/officeart/2005/8/layout/default"/>
    <dgm:cxn modelId="{25940286-F8FC-43DF-BA32-CA06DF40EF4C}" type="presParOf" srcId="{EE45E630-8A4E-4594-8633-D19965F7319E}" destId="{3E599D96-F32C-43A7-9BF6-C2550F81AC0D}" srcOrd="13" destOrd="0" presId="urn:microsoft.com/office/officeart/2005/8/layout/default"/>
    <dgm:cxn modelId="{C5F718AE-7DF0-4348-8080-4B8CB1A3DB3A}" type="presParOf" srcId="{EE45E630-8A4E-4594-8633-D19965F7319E}" destId="{750336D2-D6D9-43EB-8399-A55D14B30247}"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8BD86EC4-66E0-465B-8F9E-BB8DFC62ED9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CA"/>
        </a:p>
      </dgm:t>
    </dgm:pt>
    <dgm:pt modelId="{CA652B78-A53D-4D9D-A53D-6DED5DBAB21F}">
      <dgm:prSet phldrT="[Text]" custT="1"/>
      <dgm:spPr>
        <a:solidFill>
          <a:srgbClr val="0070C0"/>
        </a:solidFill>
      </dgm:spPr>
      <dgm:t>
        <a:bodyPr/>
        <a:lstStyle/>
        <a:p>
          <a:r>
            <a:rPr lang="en-CA" sz="2400" dirty="0"/>
            <a:t>Instance-level</a:t>
          </a:r>
        </a:p>
      </dgm:t>
    </dgm:pt>
    <dgm:pt modelId="{CC26DF9E-471A-4A3B-968C-156E4711FA64}" type="parTrans" cxnId="{BE3A2E2A-8B62-4E0B-A967-D09FD7103C09}">
      <dgm:prSet/>
      <dgm:spPr/>
      <dgm:t>
        <a:bodyPr/>
        <a:lstStyle/>
        <a:p>
          <a:endParaRPr lang="en-CA"/>
        </a:p>
      </dgm:t>
    </dgm:pt>
    <dgm:pt modelId="{2D7A19AC-D806-47BC-9503-45551424CFA7}" type="sibTrans" cxnId="{BE3A2E2A-8B62-4E0B-A967-D09FD7103C09}">
      <dgm:prSet/>
      <dgm:spPr/>
      <dgm:t>
        <a:bodyPr/>
        <a:lstStyle/>
        <a:p>
          <a:endParaRPr lang="en-CA"/>
        </a:p>
      </dgm:t>
    </dgm:pt>
    <dgm:pt modelId="{6766A560-860C-4308-BFEC-8A8554991D5A}">
      <dgm:prSet phldrT="[Text]" custT="1"/>
      <dgm:spPr>
        <a:noFill/>
      </dgm:spPr>
      <dgm:t>
        <a:bodyPr/>
        <a:lstStyle/>
        <a:p>
          <a:pPr>
            <a:buFontTx/>
            <a:buNone/>
          </a:pPr>
          <a:r>
            <a:rPr lang="en-US" sz="1200" b="0" i="0" dirty="0">
              <a:solidFill>
                <a:srgbClr val="FF0000"/>
              </a:solidFill>
              <a:latin typeface="Courier New" panose="02070309020205020404" pitchFamily="49" charset="0"/>
              <a:cs typeface="Courier New" panose="02070309020205020404" pitchFamily="49" charset="0"/>
            </a:rPr>
            <a:t>EXEC </a:t>
          </a:r>
          <a:r>
            <a:rPr lang="en-US" sz="1200" b="0" i="0" dirty="0" err="1">
              <a:solidFill>
                <a:srgbClr val="FF0000"/>
              </a:solidFill>
              <a:latin typeface="Courier New" panose="02070309020205020404" pitchFamily="49" charset="0"/>
              <a:cs typeface="Courier New" panose="02070309020205020404" pitchFamily="49" charset="0"/>
            </a:rPr>
            <a:t>sp_configure</a:t>
          </a:r>
          <a:r>
            <a:rPr lang="en-US" sz="1200" b="0" i="0" dirty="0">
              <a:solidFill>
                <a:srgbClr val="FF0000"/>
              </a:solidFill>
              <a:latin typeface="Courier New" panose="02070309020205020404" pitchFamily="49" charset="0"/>
              <a:cs typeface="Courier New" panose="02070309020205020404" pitchFamily="49" charset="0"/>
            </a:rPr>
            <a:t> </a:t>
          </a:r>
          <a:r>
            <a:rPr lang="en-US" sz="1200" b="0" i="0" dirty="0">
              <a:solidFill>
                <a:srgbClr val="FF0000"/>
              </a:solidFill>
              <a:highlight>
                <a:srgbClr val="FFFF00"/>
              </a:highlight>
              <a:latin typeface="Courier New" panose="02070309020205020404" pitchFamily="49" charset="0"/>
              <a:cs typeface="Courier New" panose="02070309020205020404" pitchFamily="49" charset="0"/>
            </a:rPr>
            <a:t>'max degree of parallelism', 16</a:t>
          </a:r>
          <a:r>
            <a:rPr lang="en-US" sz="1200" b="0" i="0" dirty="0">
              <a:solidFill>
                <a:srgbClr val="FF0000"/>
              </a:solidFill>
              <a:latin typeface="Courier New" panose="02070309020205020404" pitchFamily="49" charset="0"/>
              <a:cs typeface="Courier New" panose="02070309020205020404" pitchFamily="49" charset="0"/>
            </a:rPr>
            <a:t>; </a:t>
          </a:r>
          <a:endParaRPr lang="en-CA" sz="1200" dirty="0">
            <a:solidFill>
              <a:srgbClr val="FF0000"/>
            </a:solidFill>
            <a:latin typeface="Courier New" panose="02070309020205020404" pitchFamily="49" charset="0"/>
            <a:cs typeface="Courier New" panose="02070309020205020404" pitchFamily="49" charset="0"/>
          </a:endParaRPr>
        </a:p>
      </dgm:t>
    </dgm:pt>
    <dgm:pt modelId="{ABCAF4BB-5141-44CA-AE19-DFDB4EF2B2AA}" type="parTrans" cxnId="{34636D11-8F8D-4764-A8E4-E921AD1629F3}">
      <dgm:prSet/>
      <dgm:spPr/>
      <dgm:t>
        <a:bodyPr/>
        <a:lstStyle/>
        <a:p>
          <a:endParaRPr lang="en-CA"/>
        </a:p>
      </dgm:t>
    </dgm:pt>
    <dgm:pt modelId="{1051825E-990F-4B8C-923D-DE2D324C8B1B}" type="sibTrans" cxnId="{34636D11-8F8D-4764-A8E4-E921AD1629F3}">
      <dgm:prSet/>
      <dgm:spPr/>
      <dgm:t>
        <a:bodyPr/>
        <a:lstStyle/>
        <a:p>
          <a:endParaRPr lang="en-CA"/>
        </a:p>
      </dgm:t>
    </dgm:pt>
    <dgm:pt modelId="{5C89FE16-64B8-47E9-88E2-310793464D68}">
      <dgm:prSet phldrT="[Text]" custT="1"/>
      <dgm:spPr>
        <a:solidFill>
          <a:srgbClr val="0070C0"/>
        </a:solidFill>
      </dgm:spPr>
      <dgm:t>
        <a:bodyPr/>
        <a:lstStyle/>
        <a:p>
          <a:r>
            <a:rPr lang="en-CA" sz="2400" dirty="0"/>
            <a:t>Database-scoped</a:t>
          </a:r>
        </a:p>
      </dgm:t>
    </dgm:pt>
    <dgm:pt modelId="{6D7C1038-F794-4D68-A3DE-054283EF3F05}" type="parTrans" cxnId="{0E2D73F2-B04C-4E45-A523-981F357275F2}">
      <dgm:prSet/>
      <dgm:spPr/>
      <dgm:t>
        <a:bodyPr/>
        <a:lstStyle/>
        <a:p>
          <a:endParaRPr lang="en-CA"/>
        </a:p>
      </dgm:t>
    </dgm:pt>
    <dgm:pt modelId="{951D029D-E677-4CE4-A79C-4B0404FC1E56}" type="sibTrans" cxnId="{0E2D73F2-B04C-4E45-A523-981F357275F2}">
      <dgm:prSet/>
      <dgm:spPr/>
      <dgm:t>
        <a:bodyPr/>
        <a:lstStyle/>
        <a:p>
          <a:endParaRPr lang="en-CA"/>
        </a:p>
      </dgm:t>
    </dgm:pt>
    <dgm:pt modelId="{DE80425C-8130-407B-9EF1-5EB64039A808}">
      <dgm:prSet phldrT="[Text]" custT="1"/>
      <dgm:spPr>
        <a:noFill/>
      </dgm:spPr>
      <dgm:t>
        <a:bodyPr/>
        <a:lstStyle/>
        <a:p>
          <a:pPr>
            <a:buFontTx/>
            <a:buNone/>
          </a:pPr>
          <a:r>
            <a:rPr lang="en-US" sz="1200" b="0" i="0" dirty="0">
              <a:solidFill>
                <a:srgbClr val="FF0000"/>
              </a:solidFill>
              <a:latin typeface="Courier New" panose="02070309020205020404" pitchFamily="49" charset="0"/>
              <a:cs typeface="Courier New" panose="02070309020205020404" pitchFamily="49" charset="0"/>
            </a:rPr>
            <a:t>ALTER DATABASE SCOPED CONFIGURATION SET </a:t>
          </a:r>
          <a:r>
            <a:rPr lang="en-US" sz="1200" b="0" i="0" dirty="0">
              <a:solidFill>
                <a:srgbClr val="FF0000"/>
              </a:solidFill>
              <a:highlight>
                <a:srgbClr val="FFFF00"/>
              </a:highlight>
              <a:latin typeface="Courier New" panose="02070309020205020404" pitchFamily="49" charset="0"/>
              <a:cs typeface="Courier New" panose="02070309020205020404" pitchFamily="49" charset="0"/>
            </a:rPr>
            <a:t>MAXDOP = 16 </a:t>
          </a:r>
          <a:r>
            <a:rPr lang="en-US" sz="1200" b="0" i="0" dirty="0">
              <a:latin typeface="Courier New" panose="02070309020205020404" pitchFamily="49" charset="0"/>
              <a:cs typeface="Courier New" panose="02070309020205020404" pitchFamily="49" charset="0"/>
            </a:rPr>
            <a:t>;</a:t>
          </a:r>
          <a:endParaRPr lang="en-CA" sz="1200" dirty="0">
            <a:latin typeface="Courier New" panose="02070309020205020404" pitchFamily="49" charset="0"/>
            <a:cs typeface="Courier New" panose="02070309020205020404" pitchFamily="49" charset="0"/>
          </a:endParaRPr>
        </a:p>
      </dgm:t>
    </dgm:pt>
    <dgm:pt modelId="{A7FFFD6D-C9D4-4A1B-A182-62981DB24348}" type="parTrans" cxnId="{493ED02F-02B7-428E-8CAB-33DBA0F5B217}">
      <dgm:prSet/>
      <dgm:spPr/>
      <dgm:t>
        <a:bodyPr/>
        <a:lstStyle/>
        <a:p>
          <a:endParaRPr lang="en-CA"/>
        </a:p>
      </dgm:t>
    </dgm:pt>
    <dgm:pt modelId="{BDD4644F-13B0-43BF-B0FC-FF782E80F082}" type="sibTrans" cxnId="{493ED02F-02B7-428E-8CAB-33DBA0F5B217}">
      <dgm:prSet/>
      <dgm:spPr/>
      <dgm:t>
        <a:bodyPr/>
        <a:lstStyle/>
        <a:p>
          <a:endParaRPr lang="en-CA"/>
        </a:p>
      </dgm:t>
    </dgm:pt>
    <dgm:pt modelId="{A6331489-9E12-4766-8ADC-7DED45509CB7}">
      <dgm:prSet phldrT="[Text]" custT="1"/>
      <dgm:spPr>
        <a:solidFill>
          <a:srgbClr val="0070C0"/>
        </a:solidFill>
      </dgm:spPr>
      <dgm:t>
        <a:bodyPr/>
        <a:lstStyle/>
        <a:p>
          <a:r>
            <a:rPr lang="en-CA" sz="2400" dirty="0"/>
            <a:t>Query Hint</a:t>
          </a:r>
        </a:p>
      </dgm:t>
    </dgm:pt>
    <dgm:pt modelId="{36C8547C-D932-4CCD-8425-A9AD4DE10866}" type="parTrans" cxnId="{693B5F47-E7C4-4F10-A37D-4C6CDFB3EC71}">
      <dgm:prSet/>
      <dgm:spPr/>
      <dgm:t>
        <a:bodyPr/>
        <a:lstStyle/>
        <a:p>
          <a:endParaRPr lang="en-CA"/>
        </a:p>
      </dgm:t>
    </dgm:pt>
    <dgm:pt modelId="{FDC3B879-6F63-42B4-8E18-181EB520286A}" type="sibTrans" cxnId="{693B5F47-E7C4-4F10-A37D-4C6CDFB3EC71}">
      <dgm:prSet/>
      <dgm:spPr/>
      <dgm:t>
        <a:bodyPr/>
        <a:lstStyle/>
        <a:p>
          <a:endParaRPr lang="en-CA"/>
        </a:p>
      </dgm:t>
    </dgm:pt>
    <dgm:pt modelId="{36F2976F-0944-4F74-9F98-663A5A431660}">
      <dgm:prSet phldrT="[Text]" custT="1"/>
      <dgm:spPr>
        <a:noFill/>
      </dgm:spPr>
      <dgm:t>
        <a:bodyPr/>
        <a:lstStyle/>
        <a:p>
          <a:pPr>
            <a:buFontTx/>
            <a:buNone/>
          </a:pPr>
          <a:r>
            <a:rPr lang="en-US" sz="1200" dirty="0">
              <a:solidFill>
                <a:srgbClr val="FF0000"/>
              </a:solidFill>
              <a:latin typeface="Courier New" panose="02070309020205020404" pitchFamily="49" charset="0"/>
              <a:cs typeface="Courier New" panose="02070309020205020404" pitchFamily="49" charset="0"/>
            </a:rPr>
            <a:t>SELECT </a:t>
          </a:r>
          <a:r>
            <a:rPr lang="en-US" sz="1200" dirty="0" err="1">
              <a:solidFill>
                <a:srgbClr val="FF0000"/>
              </a:solidFill>
              <a:latin typeface="Courier New" panose="02070309020205020404" pitchFamily="49" charset="0"/>
              <a:cs typeface="Courier New" panose="02070309020205020404" pitchFamily="49" charset="0"/>
            </a:rPr>
            <a:t>ProductID</a:t>
          </a:r>
          <a:r>
            <a:rPr lang="en-US" sz="1200" dirty="0">
              <a:solidFill>
                <a:srgbClr val="FF0000"/>
              </a:solidFill>
              <a:latin typeface="Courier New" panose="02070309020205020404" pitchFamily="49" charset="0"/>
              <a:cs typeface="Courier New" panose="02070309020205020404" pitchFamily="49" charset="0"/>
            </a:rPr>
            <a:t>, </a:t>
          </a:r>
          <a:r>
            <a:rPr lang="en-US" sz="1200" dirty="0" err="1">
              <a:solidFill>
                <a:srgbClr val="FF0000"/>
              </a:solidFill>
              <a:latin typeface="Courier New" panose="02070309020205020404" pitchFamily="49" charset="0"/>
              <a:cs typeface="Courier New" panose="02070309020205020404" pitchFamily="49" charset="0"/>
            </a:rPr>
            <a:t>OrderQty</a:t>
          </a:r>
          <a:r>
            <a:rPr lang="en-US" sz="1200" dirty="0">
              <a:solidFill>
                <a:srgbClr val="FF0000"/>
              </a:solidFill>
              <a:latin typeface="Courier New" panose="02070309020205020404" pitchFamily="49" charset="0"/>
              <a:cs typeface="Courier New" panose="02070309020205020404" pitchFamily="49" charset="0"/>
            </a:rPr>
            <a:t>, SUM(</a:t>
          </a:r>
          <a:r>
            <a:rPr lang="en-US" sz="1200" dirty="0" err="1">
              <a:solidFill>
                <a:srgbClr val="FF0000"/>
              </a:solidFill>
              <a:latin typeface="Courier New" panose="02070309020205020404" pitchFamily="49" charset="0"/>
              <a:cs typeface="Courier New" panose="02070309020205020404" pitchFamily="49" charset="0"/>
            </a:rPr>
            <a:t>LineTotal</a:t>
          </a:r>
          <a:r>
            <a:rPr lang="en-US" sz="1200" dirty="0">
              <a:solidFill>
                <a:srgbClr val="FF0000"/>
              </a:solidFill>
              <a:latin typeface="Courier New" panose="02070309020205020404" pitchFamily="49" charset="0"/>
              <a:cs typeface="Courier New" panose="02070309020205020404" pitchFamily="49" charset="0"/>
            </a:rPr>
            <a:t>) AS Total</a:t>
          </a:r>
          <a:endParaRPr lang="en-CA" sz="1200" dirty="0">
            <a:solidFill>
              <a:srgbClr val="FF0000"/>
            </a:solidFill>
            <a:latin typeface="Courier New" panose="02070309020205020404" pitchFamily="49" charset="0"/>
            <a:cs typeface="Courier New" panose="02070309020205020404" pitchFamily="49" charset="0"/>
          </a:endParaRPr>
        </a:p>
      </dgm:t>
    </dgm:pt>
    <dgm:pt modelId="{A7572B08-0ADA-4B0D-A058-CAE57DE1F975}" type="parTrans" cxnId="{B54C64D9-DADD-4BFF-97F8-60FC23241007}">
      <dgm:prSet/>
      <dgm:spPr/>
      <dgm:t>
        <a:bodyPr/>
        <a:lstStyle/>
        <a:p>
          <a:endParaRPr lang="en-CA"/>
        </a:p>
      </dgm:t>
    </dgm:pt>
    <dgm:pt modelId="{68F8D5D9-BA52-49A1-83EB-2667830700B2}" type="sibTrans" cxnId="{B54C64D9-DADD-4BFF-97F8-60FC23241007}">
      <dgm:prSet/>
      <dgm:spPr/>
      <dgm:t>
        <a:bodyPr/>
        <a:lstStyle/>
        <a:p>
          <a:endParaRPr lang="en-CA"/>
        </a:p>
      </dgm:t>
    </dgm:pt>
    <dgm:pt modelId="{57A5E0E3-E7C6-46D2-A028-FFF7A73B9A02}">
      <dgm:prSet custT="1"/>
      <dgm:spPr/>
      <dgm:t>
        <a:bodyPr/>
        <a:lstStyle/>
        <a:p>
          <a:pPr>
            <a:buFontTx/>
            <a:buNone/>
          </a:pPr>
          <a:r>
            <a:rPr lang="en-CA" sz="1200" dirty="0">
              <a:solidFill>
                <a:srgbClr val="FF0000"/>
              </a:solidFill>
              <a:latin typeface="Courier New" panose="02070309020205020404" pitchFamily="49" charset="0"/>
              <a:cs typeface="Courier New" panose="02070309020205020404" pitchFamily="49" charset="0"/>
            </a:rPr>
            <a:t>FROM Sales.SalesOrderDetail</a:t>
          </a:r>
        </a:p>
      </dgm:t>
    </dgm:pt>
    <dgm:pt modelId="{DAE219C1-3361-42F1-8BCF-9092D957AA1C}" type="parTrans" cxnId="{7D421F4E-5919-409E-A421-24E0F316AF62}">
      <dgm:prSet/>
      <dgm:spPr/>
      <dgm:t>
        <a:bodyPr/>
        <a:lstStyle/>
        <a:p>
          <a:endParaRPr lang="en-CA"/>
        </a:p>
      </dgm:t>
    </dgm:pt>
    <dgm:pt modelId="{79890276-39FB-4E40-BC55-F3CC3A158EA1}" type="sibTrans" cxnId="{7D421F4E-5919-409E-A421-24E0F316AF62}">
      <dgm:prSet/>
      <dgm:spPr/>
      <dgm:t>
        <a:bodyPr/>
        <a:lstStyle/>
        <a:p>
          <a:endParaRPr lang="en-CA"/>
        </a:p>
      </dgm:t>
    </dgm:pt>
    <dgm:pt modelId="{9B2FFDB3-888D-474A-85FC-102D726BF7C1}">
      <dgm:prSet custT="1"/>
      <dgm:spPr/>
      <dgm:t>
        <a:bodyPr/>
        <a:lstStyle/>
        <a:p>
          <a:pPr>
            <a:buFontTx/>
            <a:buNone/>
          </a:pPr>
          <a:r>
            <a:rPr lang="en-CA" sz="1200" dirty="0">
              <a:solidFill>
                <a:srgbClr val="FF0000"/>
              </a:solidFill>
              <a:latin typeface="Courier New" panose="02070309020205020404" pitchFamily="49" charset="0"/>
              <a:cs typeface="Courier New" panose="02070309020205020404" pitchFamily="49" charset="0"/>
            </a:rPr>
            <a:t>WHERE UnitPrice &lt; $5.00</a:t>
          </a:r>
        </a:p>
      </dgm:t>
    </dgm:pt>
    <dgm:pt modelId="{2A94F477-DF36-46A7-8A51-75710F772013}" type="parTrans" cxnId="{B0BD0495-59EE-4612-8563-F67A9874BAFA}">
      <dgm:prSet/>
      <dgm:spPr/>
      <dgm:t>
        <a:bodyPr/>
        <a:lstStyle/>
        <a:p>
          <a:endParaRPr lang="en-CA"/>
        </a:p>
      </dgm:t>
    </dgm:pt>
    <dgm:pt modelId="{29D6AE05-1FAC-453E-8BFF-CA6C5B699F12}" type="sibTrans" cxnId="{B0BD0495-59EE-4612-8563-F67A9874BAFA}">
      <dgm:prSet/>
      <dgm:spPr/>
      <dgm:t>
        <a:bodyPr/>
        <a:lstStyle/>
        <a:p>
          <a:endParaRPr lang="en-CA"/>
        </a:p>
      </dgm:t>
    </dgm:pt>
    <dgm:pt modelId="{D29F4FDA-3AE9-42B9-9FFB-EA165B664D17}">
      <dgm:prSet custT="1"/>
      <dgm:spPr/>
      <dgm:t>
        <a:bodyPr/>
        <a:lstStyle/>
        <a:p>
          <a:pPr>
            <a:buFontTx/>
            <a:buNone/>
          </a:pPr>
          <a:r>
            <a:rPr lang="en-CA" sz="1200" dirty="0">
              <a:solidFill>
                <a:srgbClr val="FF0000"/>
              </a:solidFill>
              <a:latin typeface="Courier New" panose="02070309020205020404" pitchFamily="49" charset="0"/>
              <a:cs typeface="Courier New" panose="02070309020205020404" pitchFamily="49" charset="0"/>
            </a:rPr>
            <a:t>GROUP BY ProductID, OrderQty</a:t>
          </a:r>
        </a:p>
      </dgm:t>
    </dgm:pt>
    <dgm:pt modelId="{8EE9115B-7231-4B99-9CE7-C94422AEECB6}" type="parTrans" cxnId="{42EFD787-C158-426D-AB97-379A3EED535C}">
      <dgm:prSet/>
      <dgm:spPr/>
      <dgm:t>
        <a:bodyPr/>
        <a:lstStyle/>
        <a:p>
          <a:endParaRPr lang="en-CA"/>
        </a:p>
      </dgm:t>
    </dgm:pt>
    <dgm:pt modelId="{FD944B77-BDF1-4ED9-85A0-FEB39367777C}" type="sibTrans" cxnId="{42EFD787-C158-426D-AB97-379A3EED535C}">
      <dgm:prSet/>
      <dgm:spPr/>
      <dgm:t>
        <a:bodyPr/>
        <a:lstStyle/>
        <a:p>
          <a:endParaRPr lang="en-CA"/>
        </a:p>
      </dgm:t>
    </dgm:pt>
    <dgm:pt modelId="{4021C961-F983-4E7A-96B5-A44E8D1BF2E9}">
      <dgm:prSet custT="1"/>
      <dgm:spPr/>
      <dgm:t>
        <a:bodyPr/>
        <a:lstStyle/>
        <a:p>
          <a:pPr>
            <a:buFontTx/>
            <a:buNone/>
          </a:pPr>
          <a:r>
            <a:rPr lang="en-CA" sz="1200" dirty="0">
              <a:solidFill>
                <a:srgbClr val="FF0000"/>
              </a:solidFill>
              <a:latin typeface="Courier New" panose="02070309020205020404" pitchFamily="49" charset="0"/>
              <a:cs typeface="Courier New" panose="02070309020205020404" pitchFamily="49" charset="0"/>
            </a:rPr>
            <a:t>ORDER BY ProductID, OrderQty</a:t>
          </a:r>
        </a:p>
      </dgm:t>
    </dgm:pt>
    <dgm:pt modelId="{53690C3A-ABC0-4F7B-8DDE-1747B1A5A39B}" type="parTrans" cxnId="{EBEFDD4A-CA92-4E24-B3F4-EBFC15E02735}">
      <dgm:prSet/>
      <dgm:spPr/>
      <dgm:t>
        <a:bodyPr/>
        <a:lstStyle/>
        <a:p>
          <a:endParaRPr lang="en-CA"/>
        </a:p>
      </dgm:t>
    </dgm:pt>
    <dgm:pt modelId="{1824A0B8-220C-4A6A-84EA-72109F0FF517}" type="sibTrans" cxnId="{EBEFDD4A-CA92-4E24-B3F4-EBFC15E02735}">
      <dgm:prSet/>
      <dgm:spPr/>
      <dgm:t>
        <a:bodyPr/>
        <a:lstStyle/>
        <a:p>
          <a:endParaRPr lang="en-CA"/>
        </a:p>
      </dgm:t>
    </dgm:pt>
    <dgm:pt modelId="{EBC02B4A-7BDE-4F92-9B09-FCB322E36036}">
      <dgm:prSet custT="1"/>
      <dgm:spPr/>
      <dgm:t>
        <a:bodyPr/>
        <a:lstStyle/>
        <a:p>
          <a:pPr>
            <a:buFontTx/>
            <a:buNone/>
          </a:pPr>
          <a:r>
            <a:rPr lang="en-CA" sz="1200" dirty="0">
              <a:solidFill>
                <a:srgbClr val="FF0000"/>
              </a:solidFill>
              <a:highlight>
                <a:srgbClr val="FFFF00"/>
              </a:highlight>
              <a:latin typeface="Courier New" panose="02070309020205020404" pitchFamily="49" charset="0"/>
              <a:cs typeface="Courier New" panose="02070309020205020404" pitchFamily="49" charset="0"/>
            </a:rPr>
            <a:t>OPTION (MAXDOP 16);</a:t>
          </a:r>
        </a:p>
      </dgm:t>
    </dgm:pt>
    <dgm:pt modelId="{FE6BA6E9-6074-4359-8D4F-BBC87155D25C}" type="parTrans" cxnId="{A0BE0391-17DA-47FE-A6FE-F9ED45FFC6D8}">
      <dgm:prSet/>
      <dgm:spPr/>
      <dgm:t>
        <a:bodyPr/>
        <a:lstStyle/>
        <a:p>
          <a:endParaRPr lang="en-CA"/>
        </a:p>
      </dgm:t>
    </dgm:pt>
    <dgm:pt modelId="{5815AD83-B89B-45D4-8010-6E34302C842B}" type="sibTrans" cxnId="{A0BE0391-17DA-47FE-A6FE-F9ED45FFC6D8}">
      <dgm:prSet/>
      <dgm:spPr/>
      <dgm:t>
        <a:bodyPr/>
        <a:lstStyle/>
        <a:p>
          <a:endParaRPr lang="en-CA"/>
        </a:p>
      </dgm:t>
    </dgm:pt>
    <dgm:pt modelId="{4DC844A7-D123-44B0-9304-77925FBD7C2D}">
      <dgm:prSet custT="1"/>
      <dgm:spPr/>
      <dgm:t>
        <a:bodyPr/>
        <a:lstStyle/>
        <a:p>
          <a:pPr>
            <a:buFontTx/>
            <a:buNone/>
          </a:pPr>
          <a:r>
            <a:rPr lang="en-CA" sz="1200" dirty="0">
              <a:solidFill>
                <a:srgbClr val="FF0000"/>
              </a:solidFill>
              <a:latin typeface="Courier New" panose="02070309020205020404" pitchFamily="49" charset="0"/>
              <a:cs typeface="Courier New" panose="02070309020205020404" pitchFamily="49" charset="0"/>
            </a:rPr>
            <a:t>GO</a:t>
          </a:r>
        </a:p>
      </dgm:t>
    </dgm:pt>
    <dgm:pt modelId="{44B0B256-7E43-418B-BA97-63E02988EB2A}" type="parTrans" cxnId="{34760514-D0BC-4E81-8EEC-F92C8A73A13A}">
      <dgm:prSet/>
      <dgm:spPr/>
      <dgm:t>
        <a:bodyPr/>
        <a:lstStyle/>
        <a:p>
          <a:endParaRPr lang="en-CA"/>
        </a:p>
      </dgm:t>
    </dgm:pt>
    <dgm:pt modelId="{4DE1BE2B-4ED2-483B-BCED-BB045925C7E4}" type="sibTrans" cxnId="{34760514-D0BC-4E81-8EEC-F92C8A73A13A}">
      <dgm:prSet/>
      <dgm:spPr/>
      <dgm:t>
        <a:bodyPr/>
        <a:lstStyle/>
        <a:p>
          <a:endParaRPr lang="en-CA"/>
        </a:p>
      </dgm:t>
    </dgm:pt>
    <dgm:pt modelId="{2A531ACA-220F-4E3F-B527-CA74B504312A}">
      <dgm:prSet phldrT="[Text]" custT="1"/>
      <dgm:spPr>
        <a:solidFill>
          <a:srgbClr val="0070C0"/>
        </a:solidFill>
      </dgm:spPr>
      <dgm:t>
        <a:bodyPr/>
        <a:lstStyle/>
        <a:p>
          <a:r>
            <a:rPr lang="en-CA" sz="2200" dirty="0"/>
            <a:t>Resource Governor</a:t>
          </a:r>
        </a:p>
      </dgm:t>
    </dgm:pt>
    <dgm:pt modelId="{E419523D-27E5-4EF0-8754-7D6929D09863}" type="parTrans" cxnId="{5B928D24-3A58-4D36-A7AE-B2B5F266BEAF}">
      <dgm:prSet/>
      <dgm:spPr/>
      <dgm:t>
        <a:bodyPr/>
        <a:lstStyle/>
        <a:p>
          <a:endParaRPr lang="en-CA"/>
        </a:p>
      </dgm:t>
    </dgm:pt>
    <dgm:pt modelId="{3DD590B3-F39A-448F-ADB1-98071587C9FC}" type="sibTrans" cxnId="{5B928D24-3A58-4D36-A7AE-B2B5F266BEAF}">
      <dgm:prSet/>
      <dgm:spPr/>
      <dgm:t>
        <a:bodyPr/>
        <a:lstStyle/>
        <a:p>
          <a:endParaRPr lang="en-CA"/>
        </a:p>
      </dgm:t>
    </dgm:pt>
    <dgm:pt modelId="{89FEF288-89FE-47E8-BD8C-EE788F093A0C}">
      <dgm:prSet phldrT="[Text]" custT="1"/>
      <dgm:spPr>
        <a:noFill/>
      </dgm:spPr>
      <dgm:t>
        <a:bodyPr/>
        <a:lstStyle/>
        <a:p>
          <a:pPr>
            <a:buFontTx/>
            <a:buNone/>
          </a:pPr>
          <a:r>
            <a:rPr lang="en-CA" sz="1200" b="0" i="0" dirty="0">
              <a:solidFill>
                <a:srgbClr val="FF0000"/>
              </a:solidFill>
              <a:latin typeface="Courier New" panose="02070309020205020404" pitchFamily="49" charset="0"/>
              <a:cs typeface="Courier New" panose="02070309020205020404" pitchFamily="49" charset="0"/>
            </a:rPr>
            <a:t>CREATE WORKLOAD GROUP </a:t>
          </a:r>
          <a:r>
            <a:rPr lang="en-CA" sz="1200" b="0" i="0" dirty="0" err="1">
              <a:solidFill>
                <a:srgbClr val="FF0000"/>
              </a:solidFill>
              <a:latin typeface="Courier New" panose="02070309020205020404" pitchFamily="49" charset="0"/>
              <a:cs typeface="Courier New" panose="02070309020205020404" pitchFamily="49" charset="0"/>
            </a:rPr>
            <a:t>newReports</a:t>
          </a:r>
          <a:endParaRPr lang="en-CA" sz="1200" dirty="0">
            <a:solidFill>
              <a:srgbClr val="FF0000"/>
            </a:solidFill>
            <a:latin typeface="Courier New" panose="02070309020205020404" pitchFamily="49" charset="0"/>
            <a:cs typeface="Courier New" panose="02070309020205020404" pitchFamily="49" charset="0"/>
          </a:endParaRPr>
        </a:p>
      </dgm:t>
    </dgm:pt>
    <dgm:pt modelId="{88FF0015-A2BF-4FF7-AF38-4EDC4EA5FC58}" type="parTrans" cxnId="{BF5B91F6-4D0F-4F16-B93C-4D175FAA8951}">
      <dgm:prSet/>
      <dgm:spPr/>
      <dgm:t>
        <a:bodyPr/>
        <a:lstStyle/>
        <a:p>
          <a:endParaRPr lang="en-CA"/>
        </a:p>
      </dgm:t>
    </dgm:pt>
    <dgm:pt modelId="{43F3B8EB-57E9-4D37-A11A-0A663A09061A}" type="sibTrans" cxnId="{BF5B91F6-4D0F-4F16-B93C-4D175FAA8951}">
      <dgm:prSet/>
      <dgm:spPr/>
      <dgm:t>
        <a:bodyPr/>
        <a:lstStyle/>
        <a:p>
          <a:endParaRPr lang="en-CA"/>
        </a:p>
      </dgm:t>
    </dgm:pt>
    <dgm:pt modelId="{9186849B-6ECF-4EB5-86C1-B580BBABCB37}">
      <dgm:prSet custT="1"/>
      <dgm:spPr/>
      <dgm:t>
        <a:bodyPr/>
        <a:lstStyle/>
        <a:p>
          <a:pPr>
            <a:buFontTx/>
            <a:buNone/>
          </a:pPr>
          <a:r>
            <a:rPr lang="en-CA" sz="1200" b="0" i="0">
              <a:solidFill>
                <a:srgbClr val="FF0000"/>
              </a:solidFill>
              <a:latin typeface="Courier New" panose="02070309020205020404" pitchFamily="49" charset="0"/>
              <a:cs typeface="Courier New" panose="02070309020205020404" pitchFamily="49" charset="0"/>
            </a:rPr>
            <a:t>WITH</a:t>
          </a:r>
          <a:endParaRPr lang="en-CA" sz="1200" b="0" i="0" dirty="0">
            <a:solidFill>
              <a:srgbClr val="FF0000"/>
            </a:solidFill>
            <a:latin typeface="Courier New" panose="02070309020205020404" pitchFamily="49" charset="0"/>
            <a:cs typeface="Courier New" panose="02070309020205020404" pitchFamily="49" charset="0"/>
          </a:endParaRPr>
        </a:p>
      </dgm:t>
    </dgm:pt>
    <dgm:pt modelId="{2362A18D-31CB-4102-BD7A-84C677FA4A7D}" type="parTrans" cxnId="{5B168B1C-D12F-456D-B1D1-D9B551DE33A7}">
      <dgm:prSet/>
      <dgm:spPr/>
      <dgm:t>
        <a:bodyPr/>
        <a:lstStyle/>
        <a:p>
          <a:endParaRPr lang="en-CA"/>
        </a:p>
      </dgm:t>
    </dgm:pt>
    <dgm:pt modelId="{426A6F35-6F19-49D8-AFA6-EB5FF5E88659}" type="sibTrans" cxnId="{5B168B1C-D12F-456D-B1D1-D9B551DE33A7}">
      <dgm:prSet/>
      <dgm:spPr/>
      <dgm:t>
        <a:bodyPr/>
        <a:lstStyle/>
        <a:p>
          <a:endParaRPr lang="en-CA"/>
        </a:p>
      </dgm:t>
    </dgm:pt>
    <dgm:pt modelId="{012B2A0C-6982-4FF6-99E2-CE3B6BC3F333}">
      <dgm:prSet custT="1"/>
      <dgm:spPr/>
      <dgm:t>
        <a:bodyPr/>
        <a:lstStyle/>
        <a:p>
          <a:pPr>
            <a:buFontTx/>
            <a:buNone/>
          </a:pPr>
          <a:r>
            <a:rPr lang="en-CA" sz="1200" b="0" i="0" dirty="0">
              <a:solidFill>
                <a:srgbClr val="FF0000"/>
              </a:solidFill>
              <a:latin typeface="Courier New" panose="02070309020205020404" pitchFamily="49" charset="0"/>
              <a:cs typeface="Courier New" panose="02070309020205020404" pitchFamily="49" charset="0"/>
            </a:rPr>
            <a:t>(REQUEST_MAX_MEMORY_GRANT_PERCENT = 2.5</a:t>
          </a:r>
        </a:p>
      </dgm:t>
    </dgm:pt>
    <dgm:pt modelId="{99FBDB84-983E-4B2A-8404-838EFDD2BCDF}" type="parTrans" cxnId="{13B8FE72-BE7D-41E2-8F74-7B40294A6B59}">
      <dgm:prSet/>
      <dgm:spPr/>
      <dgm:t>
        <a:bodyPr/>
        <a:lstStyle/>
        <a:p>
          <a:endParaRPr lang="en-CA"/>
        </a:p>
      </dgm:t>
    </dgm:pt>
    <dgm:pt modelId="{32B5188C-6B8E-4F03-B377-F860351200B6}" type="sibTrans" cxnId="{13B8FE72-BE7D-41E2-8F74-7B40294A6B59}">
      <dgm:prSet/>
      <dgm:spPr/>
      <dgm:t>
        <a:bodyPr/>
        <a:lstStyle/>
        <a:p>
          <a:endParaRPr lang="en-CA"/>
        </a:p>
      </dgm:t>
    </dgm:pt>
    <dgm:pt modelId="{1B42FDBC-E558-45EE-921E-F1BD97F6F2FD}">
      <dgm:prSet custT="1"/>
      <dgm:spPr/>
      <dgm:t>
        <a:bodyPr/>
        <a:lstStyle/>
        <a:p>
          <a:pPr>
            <a:buFontTx/>
            <a:buNone/>
          </a:pPr>
          <a:r>
            <a:rPr lang="en-CA" sz="1200" b="0" i="0">
              <a:solidFill>
                <a:srgbClr val="FF0000"/>
              </a:solidFill>
              <a:latin typeface="Courier New" panose="02070309020205020404" pitchFamily="49" charset="0"/>
              <a:cs typeface="Courier New" panose="02070309020205020404" pitchFamily="49" charset="0"/>
            </a:rPr>
            <a:t>, REQUEST_MAX_CPU_TIME_SEC = 100</a:t>
          </a:r>
          <a:endParaRPr lang="en-CA" sz="1200" b="0" i="0" dirty="0">
            <a:solidFill>
              <a:srgbClr val="FF0000"/>
            </a:solidFill>
            <a:latin typeface="Courier New" panose="02070309020205020404" pitchFamily="49" charset="0"/>
            <a:cs typeface="Courier New" panose="02070309020205020404" pitchFamily="49" charset="0"/>
          </a:endParaRPr>
        </a:p>
      </dgm:t>
    </dgm:pt>
    <dgm:pt modelId="{C7B5B8A8-8267-4E66-A7EE-6D5C154D7B14}" type="parTrans" cxnId="{19815059-B7D7-470F-9107-28E3D298E02C}">
      <dgm:prSet/>
      <dgm:spPr/>
      <dgm:t>
        <a:bodyPr/>
        <a:lstStyle/>
        <a:p>
          <a:endParaRPr lang="en-CA"/>
        </a:p>
      </dgm:t>
    </dgm:pt>
    <dgm:pt modelId="{D200153F-C525-48CE-A883-60B32E3A37B0}" type="sibTrans" cxnId="{19815059-B7D7-470F-9107-28E3D298E02C}">
      <dgm:prSet/>
      <dgm:spPr/>
      <dgm:t>
        <a:bodyPr/>
        <a:lstStyle/>
        <a:p>
          <a:endParaRPr lang="en-CA"/>
        </a:p>
      </dgm:t>
    </dgm:pt>
    <dgm:pt modelId="{BC841468-BEF6-4774-B839-DCFFFFBA9D9A}">
      <dgm:prSet custT="1"/>
      <dgm:spPr/>
      <dgm:t>
        <a:bodyPr/>
        <a:lstStyle/>
        <a:p>
          <a:pPr>
            <a:buFontTx/>
            <a:buNone/>
          </a:pPr>
          <a:r>
            <a:rPr lang="en-CA" sz="1200" b="0" i="0" dirty="0">
              <a:solidFill>
                <a:srgbClr val="FF0000"/>
              </a:solidFill>
              <a:latin typeface="Courier New" panose="02070309020205020404" pitchFamily="49" charset="0"/>
              <a:cs typeface="Courier New" panose="02070309020205020404" pitchFamily="49" charset="0"/>
            </a:rPr>
            <a:t>, </a:t>
          </a:r>
          <a:r>
            <a:rPr lang="en-CA" sz="1200" b="0" i="0" dirty="0">
              <a:solidFill>
                <a:srgbClr val="FF0000"/>
              </a:solidFill>
              <a:highlight>
                <a:srgbClr val="FFFF00"/>
              </a:highlight>
              <a:latin typeface="Courier New" panose="02070309020205020404" pitchFamily="49" charset="0"/>
              <a:cs typeface="Courier New" panose="02070309020205020404" pitchFamily="49" charset="0"/>
            </a:rPr>
            <a:t>MAX_DOP = 16</a:t>
          </a:r>
          <a:r>
            <a:rPr lang="en-CA" sz="1200" b="0" i="0" dirty="0">
              <a:solidFill>
                <a:srgbClr val="FF0000"/>
              </a:solidFill>
              <a:latin typeface="Courier New" panose="02070309020205020404" pitchFamily="49" charset="0"/>
              <a:cs typeface="Courier New" panose="02070309020205020404" pitchFamily="49" charset="0"/>
            </a:rPr>
            <a:t>)</a:t>
          </a:r>
        </a:p>
      </dgm:t>
    </dgm:pt>
    <dgm:pt modelId="{63260FDC-83D6-4A23-A78D-9DE181CE7799}" type="parTrans" cxnId="{88ADC979-AAB1-45B9-86A8-71E2FBA85D6F}">
      <dgm:prSet/>
      <dgm:spPr/>
      <dgm:t>
        <a:bodyPr/>
        <a:lstStyle/>
        <a:p>
          <a:endParaRPr lang="en-CA"/>
        </a:p>
      </dgm:t>
    </dgm:pt>
    <dgm:pt modelId="{C12C52B1-B438-41DE-9D01-829362F2E4B4}" type="sibTrans" cxnId="{88ADC979-AAB1-45B9-86A8-71E2FBA85D6F}">
      <dgm:prSet/>
      <dgm:spPr/>
      <dgm:t>
        <a:bodyPr/>
        <a:lstStyle/>
        <a:p>
          <a:endParaRPr lang="en-CA"/>
        </a:p>
      </dgm:t>
    </dgm:pt>
    <dgm:pt modelId="{2CCBDE4E-2CA8-4AC6-AD29-D2B341A8918C}">
      <dgm:prSet custT="1"/>
      <dgm:spPr/>
      <dgm:t>
        <a:bodyPr/>
        <a:lstStyle/>
        <a:p>
          <a:pPr>
            <a:buFontTx/>
            <a:buNone/>
          </a:pPr>
          <a:r>
            <a:rPr lang="en-CA" sz="1200" b="0" i="0">
              <a:solidFill>
                <a:srgbClr val="FF0000"/>
              </a:solidFill>
              <a:latin typeface="Courier New" panose="02070309020205020404" pitchFamily="49" charset="0"/>
              <a:cs typeface="Courier New" panose="02070309020205020404" pitchFamily="49" charset="0"/>
            </a:rPr>
            <a:t>USING "default" ;</a:t>
          </a:r>
          <a:endParaRPr lang="en-CA" sz="1200" b="0" i="0" dirty="0">
            <a:solidFill>
              <a:srgbClr val="FF0000"/>
            </a:solidFill>
            <a:latin typeface="Courier New" panose="02070309020205020404" pitchFamily="49" charset="0"/>
            <a:cs typeface="Courier New" panose="02070309020205020404" pitchFamily="49" charset="0"/>
          </a:endParaRPr>
        </a:p>
      </dgm:t>
    </dgm:pt>
    <dgm:pt modelId="{3D960A14-602F-466D-A189-C82FD57601A6}" type="parTrans" cxnId="{A12219BE-14D6-42B7-B49C-FA4616FE7530}">
      <dgm:prSet/>
      <dgm:spPr/>
      <dgm:t>
        <a:bodyPr/>
        <a:lstStyle/>
        <a:p>
          <a:endParaRPr lang="en-CA"/>
        </a:p>
      </dgm:t>
    </dgm:pt>
    <dgm:pt modelId="{5E34B1AA-25F1-47D7-9C1D-03993809ACD2}" type="sibTrans" cxnId="{A12219BE-14D6-42B7-B49C-FA4616FE7530}">
      <dgm:prSet/>
      <dgm:spPr/>
      <dgm:t>
        <a:bodyPr/>
        <a:lstStyle/>
        <a:p>
          <a:endParaRPr lang="en-CA"/>
        </a:p>
      </dgm:t>
    </dgm:pt>
    <dgm:pt modelId="{3A5D1E15-DA52-4B43-A2C7-740A02FFE923}">
      <dgm:prSet custT="1"/>
      <dgm:spPr/>
      <dgm:t>
        <a:bodyPr/>
        <a:lstStyle/>
        <a:p>
          <a:pPr>
            <a:buFontTx/>
            <a:buNone/>
          </a:pPr>
          <a:r>
            <a:rPr lang="en-CA" sz="1200" b="0" i="0" dirty="0">
              <a:solidFill>
                <a:srgbClr val="FF0000"/>
              </a:solidFill>
              <a:latin typeface="Courier New" panose="02070309020205020404" pitchFamily="49" charset="0"/>
              <a:cs typeface="Courier New" panose="02070309020205020404" pitchFamily="49" charset="0"/>
            </a:rPr>
            <a:t>GO</a:t>
          </a:r>
        </a:p>
      </dgm:t>
    </dgm:pt>
    <dgm:pt modelId="{A3FE813A-45E0-4F48-93D6-F66A5F9E4C7B}" type="parTrans" cxnId="{F1154A67-3274-4D26-9F83-BEE226B5F4D5}">
      <dgm:prSet/>
      <dgm:spPr/>
      <dgm:t>
        <a:bodyPr/>
        <a:lstStyle/>
        <a:p>
          <a:endParaRPr lang="en-CA"/>
        </a:p>
      </dgm:t>
    </dgm:pt>
    <dgm:pt modelId="{95025E45-EDA1-46FE-B899-8D0288F61B2B}" type="sibTrans" cxnId="{F1154A67-3274-4D26-9F83-BEE226B5F4D5}">
      <dgm:prSet/>
      <dgm:spPr/>
      <dgm:t>
        <a:bodyPr/>
        <a:lstStyle/>
        <a:p>
          <a:endParaRPr lang="en-CA"/>
        </a:p>
      </dgm:t>
    </dgm:pt>
    <dgm:pt modelId="{8B9002E0-287A-4046-8B30-A376E15F1696}" type="pres">
      <dgm:prSet presAssocID="{8BD86EC4-66E0-465B-8F9E-BB8DFC62ED94}" presName="Name0" presStyleCnt="0">
        <dgm:presLayoutVars>
          <dgm:dir/>
          <dgm:animLvl val="lvl"/>
          <dgm:resizeHandles val="exact"/>
        </dgm:presLayoutVars>
      </dgm:prSet>
      <dgm:spPr/>
    </dgm:pt>
    <dgm:pt modelId="{863BA3AF-4FD2-4B6C-A71F-1760FC9B032C}" type="pres">
      <dgm:prSet presAssocID="{CA652B78-A53D-4D9D-A53D-6DED5DBAB21F}" presName="composite" presStyleCnt="0"/>
      <dgm:spPr/>
    </dgm:pt>
    <dgm:pt modelId="{B6F8529C-AD91-467E-B3C6-9C9B7853C97B}" type="pres">
      <dgm:prSet presAssocID="{CA652B78-A53D-4D9D-A53D-6DED5DBAB21F}" presName="parTx" presStyleLbl="alignNode1" presStyleIdx="0" presStyleCnt="4">
        <dgm:presLayoutVars>
          <dgm:chMax val="0"/>
          <dgm:chPref val="0"/>
          <dgm:bulletEnabled val="1"/>
        </dgm:presLayoutVars>
      </dgm:prSet>
      <dgm:spPr/>
    </dgm:pt>
    <dgm:pt modelId="{722FF98C-6ED4-43DC-A691-DADFD4898579}" type="pres">
      <dgm:prSet presAssocID="{CA652B78-A53D-4D9D-A53D-6DED5DBAB21F}" presName="desTx" presStyleLbl="alignAccFollowNode1" presStyleIdx="0" presStyleCnt="4">
        <dgm:presLayoutVars>
          <dgm:bulletEnabled val="1"/>
        </dgm:presLayoutVars>
      </dgm:prSet>
      <dgm:spPr/>
    </dgm:pt>
    <dgm:pt modelId="{8D4944B0-61A1-4380-804C-4ECE87412864}" type="pres">
      <dgm:prSet presAssocID="{2D7A19AC-D806-47BC-9503-45551424CFA7}" presName="space" presStyleCnt="0"/>
      <dgm:spPr/>
    </dgm:pt>
    <dgm:pt modelId="{2E7E7386-23D9-47D6-8680-2D79AB51BEF2}" type="pres">
      <dgm:prSet presAssocID="{5C89FE16-64B8-47E9-88E2-310793464D68}" presName="composite" presStyleCnt="0"/>
      <dgm:spPr/>
    </dgm:pt>
    <dgm:pt modelId="{41713923-EBCB-4084-B936-7E611C06FE9E}" type="pres">
      <dgm:prSet presAssocID="{5C89FE16-64B8-47E9-88E2-310793464D68}" presName="parTx" presStyleLbl="alignNode1" presStyleIdx="1" presStyleCnt="4">
        <dgm:presLayoutVars>
          <dgm:chMax val="0"/>
          <dgm:chPref val="0"/>
          <dgm:bulletEnabled val="1"/>
        </dgm:presLayoutVars>
      </dgm:prSet>
      <dgm:spPr/>
    </dgm:pt>
    <dgm:pt modelId="{0D71DD19-0FDC-4C9A-933B-7D046C27AD64}" type="pres">
      <dgm:prSet presAssocID="{5C89FE16-64B8-47E9-88E2-310793464D68}" presName="desTx" presStyleLbl="alignAccFollowNode1" presStyleIdx="1" presStyleCnt="4">
        <dgm:presLayoutVars>
          <dgm:bulletEnabled val="1"/>
        </dgm:presLayoutVars>
      </dgm:prSet>
      <dgm:spPr/>
    </dgm:pt>
    <dgm:pt modelId="{77C8CF02-23AB-4CCE-9CD1-7111489C465F}" type="pres">
      <dgm:prSet presAssocID="{951D029D-E677-4CE4-A79C-4B0404FC1E56}" presName="space" presStyleCnt="0"/>
      <dgm:spPr/>
    </dgm:pt>
    <dgm:pt modelId="{37F623A7-2437-4F63-B8CD-5739BEDCDF61}" type="pres">
      <dgm:prSet presAssocID="{A6331489-9E12-4766-8ADC-7DED45509CB7}" presName="composite" presStyleCnt="0"/>
      <dgm:spPr/>
    </dgm:pt>
    <dgm:pt modelId="{88FC8A2C-5EFF-48BC-9238-A6A7C0CACC93}" type="pres">
      <dgm:prSet presAssocID="{A6331489-9E12-4766-8ADC-7DED45509CB7}" presName="parTx" presStyleLbl="alignNode1" presStyleIdx="2" presStyleCnt="4">
        <dgm:presLayoutVars>
          <dgm:chMax val="0"/>
          <dgm:chPref val="0"/>
          <dgm:bulletEnabled val="1"/>
        </dgm:presLayoutVars>
      </dgm:prSet>
      <dgm:spPr/>
    </dgm:pt>
    <dgm:pt modelId="{E2F28F74-28AF-4343-B051-912D1453C2A7}" type="pres">
      <dgm:prSet presAssocID="{A6331489-9E12-4766-8ADC-7DED45509CB7}" presName="desTx" presStyleLbl="alignAccFollowNode1" presStyleIdx="2" presStyleCnt="4">
        <dgm:presLayoutVars>
          <dgm:bulletEnabled val="1"/>
        </dgm:presLayoutVars>
      </dgm:prSet>
      <dgm:spPr/>
    </dgm:pt>
    <dgm:pt modelId="{1E03247E-335C-4E14-81B5-329F64A24BD4}" type="pres">
      <dgm:prSet presAssocID="{FDC3B879-6F63-42B4-8E18-181EB520286A}" presName="space" presStyleCnt="0"/>
      <dgm:spPr/>
    </dgm:pt>
    <dgm:pt modelId="{B8D1D5A5-191C-4648-A346-53A685D6C652}" type="pres">
      <dgm:prSet presAssocID="{2A531ACA-220F-4E3F-B527-CA74B504312A}" presName="composite" presStyleCnt="0"/>
      <dgm:spPr/>
    </dgm:pt>
    <dgm:pt modelId="{55438365-28FE-4308-9EBD-6F142F9D5B1E}" type="pres">
      <dgm:prSet presAssocID="{2A531ACA-220F-4E3F-B527-CA74B504312A}" presName="parTx" presStyleLbl="alignNode1" presStyleIdx="3" presStyleCnt="4">
        <dgm:presLayoutVars>
          <dgm:chMax val="0"/>
          <dgm:chPref val="0"/>
          <dgm:bulletEnabled val="1"/>
        </dgm:presLayoutVars>
      </dgm:prSet>
      <dgm:spPr/>
    </dgm:pt>
    <dgm:pt modelId="{E2108DB1-F5D6-4411-BB22-7BF74429C9EC}" type="pres">
      <dgm:prSet presAssocID="{2A531ACA-220F-4E3F-B527-CA74B504312A}" presName="desTx" presStyleLbl="alignAccFollowNode1" presStyleIdx="3" presStyleCnt="4">
        <dgm:presLayoutVars>
          <dgm:bulletEnabled val="1"/>
        </dgm:presLayoutVars>
      </dgm:prSet>
      <dgm:spPr/>
    </dgm:pt>
  </dgm:ptLst>
  <dgm:cxnLst>
    <dgm:cxn modelId="{8DB53106-02E1-41A4-8FD1-12BCF781802C}" type="presOf" srcId="{57A5E0E3-E7C6-46D2-A028-FFF7A73B9A02}" destId="{E2F28F74-28AF-4343-B051-912D1453C2A7}" srcOrd="0" destOrd="1" presId="urn:microsoft.com/office/officeart/2005/8/layout/hList1"/>
    <dgm:cxn modelId="{69A1630C-174A-42F5-98FB-67FD4A84C524}" type="presOf" srcId="{89FEF288-89FE-47E8-BD8C-EE788F093A0C}" destId="{E2108DB1-F5D6-4411-BB22-7BF74429C9EC}" srcOrd="0" destOrd="0" presId="urn:microsoft.com/office/officeart/2005/8/layout/hList1"/>
    <dgm:cxn modelId="{34636D11-8F8D-4764-A8E4-E921AD1629F3}" srcId="{CA652B78-A53D-4D9D-A53D-6DED5DBAB21F}" destId="{6766A560-860C-4308-BFEC-8A8554991D5A}" srcOrd="0" destOrd="0" parTransId="{ABCAF4BB-5141-44CA-AE19-DFDB4EF2B2AA}" sibTransId="{1051825E-990F-4B8C-923D-DE2D324C8B1B}"/>
    <dgm:cxn modelId="{34760514-D0BC-4E81-8EEC-F92C8A73A13A}" srcId="{A6331489-9E12-4766-8ADC-7DED45509CB7}" destId="{4DC844A7-D123-44B0-9304-77925FBD7C2D}" srcOrd="6" destOrd="0" parTransId="{44B0B256-7E43-418B-BA97-63E02988EB2A}" sibTransId="{4DE1BE2B-4ED2-483B-BCED-BB045925C7E4}"/>
    <dgm:cxn modelId="{5B168B1C-D12F-456D-B1D1-D9B551DE33A7}" srcId="{2A531ACA-220F-4E3F-B527-CA74B504312A}" destId="{9186849B-6ECF-4EB5-86C1-B580BBABCB37}" srcOrd="1" destOrd="0" parTransId="{2362A18D-31CB-4102-BD7A-84C677FA4A7D}" sibTransId="{426A6F35-6F19-49D8-AFA6-EB5FF5E88659}"/>
    <dgm:cxn modelId="{7CB0CE1E-FFA5-4F6C-BB62-BFB979C639AB}" type="presOf" srcId="{6766A560-860C-4308-BFEC-8A8554991D5A}" destId="{722FF98C-6ED4-43DC-A691-DADFD4898579}" srcOrd="0" destOrd="0" presId="urn:microsoft.com/office/officeart/2005/8/layout/hList1"/>
    <dgm:cxn modelId="{3BB2E523-7C0E-4E34-8090-B1CDA2FFA3E8}" type="presOf" srcId="{36F2976F-0944-4F74-9F98-663A5A431660}" destId="{E2F28F74-28AF-4343-B051-912D1453C2A7}" srcOrd="0" destOrd="0" presId="urn:microsoft.com/office/officeart/2005/8/layout/hList1"/>
    <dgm:cxn modelId="{05E85424-FEC8-426B-98B0-BAA8DA8058DA}" type="presOf" srcId="{9B2FFDB3-888D-474A-85FC-102D726BF7C1}" destId="{E2F28F74-28AF-4343-B051-912D1453C2A7}" srcOrd="0" destOrd="2" presId="urn:microsoft.com/office/officeart/2005/8/layout/hList1"/>
    <dgm:cxn modelId="{5B928D24-3A58-4D36-A7AE-B2B5F266BEAF}" srcId="{8BD86EC4-66E0-465B-8F9E-BB8DFC62ED94}" destId="{2A531ACA-220F-4E3F-B527-CA74B504312A}" srcOrd="3" destOrd="0" parTransId="{E419523D-27E5-4EF0-8754-7D6929D09863}" sibTransId="{3DD590B3-F39A-448F-ADB1-98071587C9FC}"/>
    <dgm:cxn modelId="{BE3A2E2A-8B62-4E0B-A967-D09FD7103C09}" srcId="{8BD86EC4-66E0-465B-8F9E-BB8DFC62ED94}" destId="{CA652B78-A53D-4D9D-A53D-6DED5DBAB21F}" srcOrd="0" destOrd="0" parTransId="{CC26DF9E-471A-4A3B-968C-156E4711FA64}" sibTransId="{2D7A19AC-D806-47BC-9503-45551424CFA7}"/>
    <dgm:cxn modelId="{C0DF542C-46F9-4650-A637-3F3784F26E6F}" type="presOf" srcId="{EBC02B4A-7BDE-4F92-9B09-FCB322E36036}" destId="{E2F28F74-28AF-4343-B051-912D1453C2A7}" srcOrd="0" destOrd="5" presId="urn:microsoft.com/office/officeart/2005/8/layout/hList1"/>
    <dgm:cxn modelId="{D256A62D-7EAA-4B0D-8043-6E8C140020AD}" type="presOf" srcId="{1B42FDBC-E558-45EE-921E-F1BD97F6F2FD}" destId="{E2108DB1-F5D6-4411-BB22-7BF74429C9EC}" srcOrd="0" destOrd="3" presId="urn:microsoft.com/office/officeart/2005/8/layout/hList1"/>
    <dgm:cxn modelId="{55D7DD2D-81BA-4C7B-93F2-E848C6612FB8}" type="presOf" srcId="{DE80425C-8130-407B-9EF1-5EB64039A808}" destId="{0D71DD19-0FDC-4C9A-933B-7D046C27AD64}" srcOrd="0" destOrd="0" presId="urn:microsoft.com/office/officeart/2005/8/layout/hList1"/>
    <dgm:cxn modelId="{493ED02F-02B7-428E-8CAB-33DBA0F5B217}" srcId="{5C89FE16-64B8-47E9-88E2-310793464D68}" destId="{DE80425C-8130-407B-9EF1-5EB64039A808}" srcOrd="0" destOrd="0" parTransId="{A7FFFD6D-C9D4-4A1B-A182-62981DB24348}" sibTransId="{BDD4644F-13B0-43BF-B0FC-FF782E80F082}"/>
    <dgm:cxn modelId="{3B895A37-3601-4ADD-AB2C-F2EF8196B079}" type="presOf" srcId="{3A5D1E15-DA52-4B43-A2C7-740A02FFE923}" destId="{E2108DB1-F5D6-4411-BB22-7BF74429C9EC}" srcOrd="0" destOrd="6" presId="urn:microsoft.com/office/officeart/2005/8/layout/hList1"/>
    <dgm:cxn modelId="{9A080539-A563-4CDD-BFCC-C4994AF9D774}" type="presOf" srcId="{D29F4FDA-3AE9-42B9-9FFB-EA165B664D17}" destId="{E2F28F74-28AF-4343-B051-912D1453C2A7}" srcOrd="0" destOrd="3" presId="urn:microsoft.com/office/officeart/2005/8/layout/hList1"/>
    <dgm:cxn modelId="{275AD05B-ECC4-4D47-9400-E3B5DC0ECCAA}" type="presOf" srcId="{4021C961-F983-4E7A-96B5-A44E8D1BF2E9}" destId="{E2F28F74-28AF-4343-B051-912D1453C2A7}" srcOrd="0" destOrd="4" presId="urn:microsoft.com/office/officeart/2005/8/layout/hList1"/>
    <dgm:cxn modelId="{693B5F47-E7C4-4F10-A37D-4C6CDFB3EC71}" srcId="{8BD86EC4-66E0-465B-8F9E-BB8DFC62ED94}" destId="{A6331489-9E12-4766-8ADC-7DED45509CB7}" srcOrd="2" destOrd="0" parTransId="{36C8547C-D932-4CCD-8425-A9AD4DE10866}" sibTransId="{FDC3B879-6F63-42B4-8E18-181EB520286A}"/>
    <dgm:cxn modelId="{F1154A67-3274-4D26-9F83-BEE226B5F4D5}" srcId="{2A531ACA-220F-4E3F-B527-CA74B504312A}" destId="{3A5D1E15-DA52-4B43-A2C7-740A02FFE923}" srcOrd="6" destOrd="0" parTransId="{A3FE813A-45E0-4F48-93D6-F66A5F9E4C7B}" sibTransId="{95025E45-EDA1-46FE-B899-8D0288F61B2B}"/>
    <dgm:cxn modelId="{84DA4448-96C7-4C4D-9628-DED19EA563B5}" type="presOf" srcId="{9186849B-6ECF-4EB5-86C1-B580BBABCB37}" destId="{E2108DB1-F5D6-4411-BB22-7BF74429C9EC}" srcOrd="0" destOrd="1" presId="urn:microsoft.com/office/officeart/2005/8/layout/hList1"/>
    <dgm:cxn modelId="{EBEFDD4A-CA92-4E24-B3F4-EBFC15E02735}" srcId="{A6331489-9E12-4766-8ADC-7DED45509CB7}" destId="{4021C961-F983-4E7A-96B5-A44E8D1BF2E9}" srcOrd="4" destOrd="0" parTransId="{53690C3A-ABC0-4F7B-8DDE-1747B1A5A39B}" sibTransId="{1824A0B8-220C-4A6A-84EA-72109F0FF517}"/>
    <dgm:cxn modelId="{7D421F4E-5919-409E-A421-24E0F316AF62}" srcId="{A6331489-9E12-4766-8ADC-7DED45509CB7}" destId="{57A5E0E3-E7C6-46D2-A028-FFF7A73B9A02}" srcOrd="1" destOrd="0" parTransId="{DAE219C1-3361-42F1-8BCF-9092D957AA1C}" sibTransId="{79890276-39FB-4E40-BC55-F3CC3A158EA1}"/>
    <dgm:cxn modelId="{EF830C70-1043-415F-9FEB-00156D39FDF2}" type="presOf" srcId="{8BD86EC4-66E0-465B-8F9E-BB8DFC62ED94}" destId="{8B9002E0-287A-4046-8B30-A376E15F1696}" srcOrd="0" destOrd="0" presId="urn:microsoft.com/office/officeart/2005/8/layout/hList1"/>
    <dgm:cxn modelId="{13B8FE72-BE7D-41E2-8F74-7B40294A6B59}" srcId="{2A531ACA-220F-4E3F-B527-CA74B504312A}" destId="{012B2A0C-6982-4FF6-99E2-CE3B6BC3F333}" srcOrd="2" destOrd="0" parTransId="{99FBDB84-983E-4B2A-8404-838EFDD2BCDF}" sibTransId="{32B5188C-6B8E-4F03-B377-F860351200B6}"/>
    <dgm:cxn modelId="{19815059-B7D7-470F-9107-28E3D298E02C}" srcId="{2A531ACA-220F-4E3F-B527-CA74B504312A}" destId="{1B42FDBC-E558-45EE-921E-F1BD97F6F2FD}" srcOrd="3" destOrd="0" parTransId="{C7B5B8A8-8267-4E66-A7EE-6D5C154D7B14}" sibTransId="{D200153F-C525-48CE-A883-60B32E3A37B0}"/>
    <dgm:cxn modelId="{88ADC979-AAB1-45B9-86A8-71E2FBA85D6F}" srcId="{2A531ACA-220F-4E3F-B527-CA74B504312A}" destId="{BC841468-BEF6-4774-B839-DCFFFFBA9D9A}" srcOrd="4" destOrd="0" parTransId="{63260FDC-83D6-4A23-A78D-9DE181CE7799}" sibTransId="{C12C52B1-B438-41DE-9D01-829362F2E4B4}"/>
    <dgm:cxn modelId="{86253A82-EBAD-47ED-BD2D-A83C4A8F1B00}" type="presOf" srcId="{4DC844A7-D123-44B0-9304-77925FBD7C2D}" destId="{E2F28F74-28AF-4343-B051-912D1453C2A7}" srcOrd="0" destOrd="6" presId="urn:microsoft.com/office/officeart/2005/8/layout/hList1"/>
    <dgm:cxn modelId="{4DDAE985-5F3D-48CE-9F68-040DC1BEF136}" type="presOf" srcId="{5C89FE16-64B8-47E9-88E2-310793464D68}" destId="{41713923-EBCB-4084-B936-7E611C06FE9E}" srcOrd="0" destOrd="0" presId="urn:microsoft.com/office/officeart/2005/8/layout/hList1"/>
    <dgm:cxn modelId="{42EFD787-C158-426D-AB97-379A3EED535C}" srcId="{A6331489-9E12-4766-8ADC-7DED45509CB7}" destId="{D29F4FDA-3AE9-42B9-9FFB-EA165B664D17}" srcOrd="3" destOrd="0" parTransId="{8EE9115B-7231-4B99-9CE7-C94422AEECB6}" sibTransId="{FD944B77-BDF1-4ED9-85A0-FEB39367777C}"/>
    <dgm:cxn modelId="{99D7348A-EF6B-4272-BE91-329420CB979D}" type="presOf" srcId="{012B2A0C-6982-4FF6-99E2-CE3B6BC3F333}" destId="{E2108DB1-F5D6-4411-BB22-7BF74429C9EC}" srcOrd="0" destOrd="2" presId="urn:microsoft.com/office/officeart/2005/8/layout/hList1"/>
    <dgm:cxn modelId="{A0BE0391-17DA-47FE-A6FE-F9ED45FFC6D8}" srcId="{A6331489-9E12-4766-8ADC-7DED45509CB7}" destId="{EBC02B4A-7BDE-4F92-9B09-FCB322E36036}" srcOrd="5" destOrd="0" parTransId="{FE6BA6E9-6074-4359-8D4F-BBC87155D25C}" sibTransId="{5815AD83-B89B-45D4-8010-6E34302C842B}"/>
    <dgm:cxn modelId="{B0BD0495-59EE-4612-8563-F67A9874BAFA}" srcId="{A6331489-9E12-4766-8ADC-7DED45509CB7}" destId="{9B2FFDB3-888D-474A-85FC-102D726BF7C1}" srcOrd="2" destOrd="0" parTransId="{2A94F477-DF36-46A7-8A51-75710F772013}" sibTransId="{29D6AE05-1FAC-453E-8BFF-CA6C5B699F12}"/>
    <dgm:cxn modelId="{A12219BE-14D6-42B7-B49C-FA4616FE7530}" srcId="{2A531ACA-220F-4E3F-B527-CA74B504312A}" destId="{2CCBDE4E-2CA8-4AC6-AD29-D2B341A8918C}" srcOrd="5" destOrd="0" parTransId="{3D960A14-602F-466D-A189-C82FD57601A6}" sibTransId="{5E34B1AA-25F1-47D7-9C1D-03993809ACD2}"/>
    <dgm:cxn modelId="{80445FC7-823D-4CF8-9DDA-CAB7456A9F41}" type="presOf" srcId="{2A531ACA-220F-4E3F-B527-CA74B504312A}" destId="{55438365-28FE-4308-9EBD-6F142F9D5B1E}" srcOrd="0" destOrd="0" presId="urn:microsoft.com/office/officeart/2005/8/layout/hList1"/>
    <dgm:cxn modelId="{98261FCD-0D31-43A8-AA1C-480E411EA000}" type="presOf" srcId="{2CCBDE4E-2CA8-4AC6-AD29-D2B341A8918C}" destId="{E2108DB1-F5D6-4411-BB22-7BF74429C9EC}" srcOrd="0" destOrd="5" presId="urn:microsoft.com/office/officeart/2005/8/layout/hList1"/>
    <dgm:cxn modelId="{5A3777CE-C7DD-4098-9A33-C47F54F33629}" type="presOf" srcId="{BC841468-BEF6-4774-B839-DCFFFFBA9D9A}" destId="{E2108DB1-F5D6-4411-BB22-7BF74429C9EC}" srcOrd="0" destOrd="4" presId="urn:microsoft.com/office/officeart/2005/8/layout/hList1"/>
    <dgm:cxn modelId="{39C543D3-2935-4A4E-9108-F024A1F35DFA}" type="presOf" srcId="{A6331489-9E12-4766-8ADC-7DED45509CB7}" destId="{88FC8A2C-5EFF-48BC-9238-A6A7C0CACC93}" srcOrd="0" destOrd="0" presId="urn:microsoft.com/office/officeart/2005/8/layout/hList1"/>
    <dgm:cxn modelId="{B54C64D9-DADD-4BFF-97F8-60FC23241007}" srcId="{A6331489-9E12-4766-8ADC-7DED45509CB7}" destId="{36F2976F-0944-4F74-9F98-663A5A431660}" srcOrd="0" destOrd="0" parTransId="{A7572B08-0ADA-4B0D-A058-CAE57DE1F975}" sibTransId="{68F8D5D9-BA52-49A1-83EB-2667830700B2}"/>
    <dgm:cxn modelId="{7F8565DE-1E6D-4704-8211-1F1BE89B3843}" type="presOf" srcId="{CA652B78-A53D-4D9D-A53D-6DED5DBAB21F}" destId="{B6F8529C-AD91-467E-B3C6-9C9B7853C97B}" srcOrd="0" destOrd="0" presId="urn:microsoft.com/office/officeart/2005/8/layout/hList1"/>
    <dgm:cxn modelId="{0E2D73F2-B04C-4E45-A523-981F357275F2}" srcId="{8BD86EC4-66E0-465B-8F9E-BB8DFC62ED94}" destId="{5C89FE16-64B8-47E9-88E2-310793464D68}" srcOrd="1" destOrd="0" parTransId="{6D7C1038-F794-4D68-A3DE-054283EF3F05}" sibTransId="{951D029D-E677-4CE4-A79C-4B0404FC1E56}"/>
    <dgm:cxn modelId="{BF5B91F6-4D0F-4F16-B93C-4D175FAA8951}" srcId="{2A531ACA-220F-4E3F-B527-CA74B504312A}" destId="{89FEF288-89FE-47E8-BD8C-EE788F093A0C}" srcOrd="0" destOrd="0" parTransId="{88FF0015-A2BF-4FF7-AF38-4EDC4EA5FC58}" sibTransId="{43F3B8EB-57E9-4D37-A11A-0A663A09061A}"/>
    <dgm:cxn modelId="{FA094D79-CB87-402A-BD6F-B92265E9AB7A}" type="presParOf" srcId="{8B9002E0-287A-4046-8B30-A376E15F1696}" destId="{863BA3AF-4FD2-4B6C-A71F-1760FC9B032C}" srcOrd="0" destOrd="0" presId="urn:microsoft.com/office/officeart/2005/8/layout/hList1"/>
    <dgm:cxn modelId="{7330AB12-9047-47B1-BAD9-2B75260C2343}" type="presParOf" srcId="{863BA3AF-4FD2-4B6C-A71F-1760FC9B032C}" destId="{B6F8529C-AD91-467E-B3C6-9C9B7853C97B}" srcOrd="0" destOrd="0" presId="urn:microsoft.com/office/officeart/2005/8/layout/hList1"/>
    <dgm:cxn modelId="{17F4CC05-BF8F-457C-9DB8-33F6FF739AD9}" type="presParOf" srcId="{863BA3AF-4FD2-4B6C-A71F-1760FC9B032C}" destId="{722FF98C-6ED4-43DC-A691-DADFD4898579}" srcOrd="1" destOrd="0" presId="urn:microsoft.com/office/officeart/2005/8/layout/hList1"/>
    <dgm:cxn modelId="{3C14BCAC-E09D-4DD9-8199-330FFA00AF38}" type="presParOf" srcId="{8B9002E0-287A-4046-8B30-A376E15F1696}" destId="{8D4944B0-61A1-4380-804C-4ECE87412864}" srcOrd="1" destOrd="0" presId="urn:microsoft.com/office/officeart/2005/8/layout/hList1"/>
    <dgm:cxn modelId="{13FD306B-24B0-44BE-810F-D71E515C859B}" type="presParOf" srcId="{8B9002E0-287A-4046-8B30-A376E15F1696}" destId="{2E7E7386-23D9-47D6-8680-2D79AB51BEF2}" srcOrd="2" destOrd="0" presId="urn:microsoft.com/office/officeart/2005/8/layout/hList1"/>
    <dgm:cxn modelId="{7508CFEC-6B9D-43BB-A62A-8EB116BD6791}" type="presParOf" srcId="{2E7E7386-23D9-47D6-8680-2D79AB51BEF2}" destId="{41713923-EBCB-4084-B936-7E611C06FE9E}" srcOrd="0" destOrd="0" presId="urn:microsoft.com/office/officeart/2005/8/layout/hList1"/>
    <dgm:cxn modelId="{7E32EED6-F8DD-4716-ADD9-8CAFFA6E7C71}" type="presParOf" srcId="{2E7E7386-23D9-47D6-8680-2D79AB51BEF2}" destId="{0D71DD19-0FDC-4C9A-933B-7D046C27AD64}" srcOrd="1" destOrd="0" presId="urn:microsoft.com/office/officeart/2005/8/layout/hList1"/>
    <dgm:cxn modelId="{12410DDE-F519-4BD2-8282-8B8293E88539}" type="presParOf" srcId="{8B9002E0-287A-4046-8B30-A376E15F1696}" destId="{77C8CF02-23AB-4CCE-9CD1-7111489C465F}" srcOrd="3" destOrd="0" presId="urn:microsoft.com/office/officeart/2005/8/layout/hList1"/>
    <dgm:cxn modelId="{EDA50EF9-CC7B-4B25-B3C9-E05AA814E07D}" type="presParOf" srcId="{8B9002E0-287A-4046-8B30-A376E15F1696}" destId="{37F623A7-2437-4F63-B8CD-5739BEDCDF61}" srcOrd="4" destOrd="0" presId="urn:microsoft.com/office/officeart/2005/8/layout/hList1"/>
    <dgm:cxn modelId="{D145A657-EBCF-486B-B5D4-79C78A5B764C}" type="presParOf" srcId="{37F623A7-2437-4F63-B8CD-5739BEDCDF61}" destId="{88FC8A2C-5EFF-48BC-9238-A6A7C0CACC93}" srcOrd="0" destOrd="0" presId="urn:microsoft.com/office/officeart/2005/8/layout/hList1"/>
    <dgm:cxn modelId="{867228EB-5A4A-4BC7-9D48-DA1AD442FE32}" type="presParOf" srcId="{37F623A7-2437-4F63-B8CD-5739BEDCDF61}" destId="{E2F28F74-28AF-4343-B051-912D1453C2A7}" srcOrd="1" destOrd="0" presId="urn:microsoft.com/office/officeart/2005/8/layout/hList1"/>
    <dgm:cxn modelId="{6E9D5959-6F96-4A73-88AD-9FD2B96B40F6}" type="presParOf" srcId="{8B9002E0-287A-4046-8B30-A376E15F1696}" destId="{1E03247E-335C-4E14-81B5-329F64A24BD4}" srcOrd="5" destOrd="0" presId="urn:microsoft.com/office/officeart/2005/8/layout/hList1"/>
    <dgm:cxn modelId="{1FA8E493-F465-45E2-9617-0BE55298057A}" type="presParOf" srcId="{8B9002E0-287A-4046-8B30-A376E15F1696}" destId="{B8D1D5A5-191C-4648-A346-53A685D6C652}" srcOrd="6" destOrd="0" presId="urn:microsoft.com/office/officeart/2005/8/layout/hList1"/>
    <dgm:cxn modelId="{8972E647-FC22-435C-BAE7-62813768C58E}" type="presParOf" srcId="{B8D1D5A5-191C-4648-A346-53A685D6C652}" destId="{55438365-28FE-4308-9EBD-6F142F9D5B1E}" srcOrd="0" destOrd="0" presId="urn:microsoft.com/office/officeart/2005/8/layout/hList1"/>
    <dgm:cxn modelId="{8DBD398F-A4D8-4CC3-8A7C-510F814647D7}" type="presParOf" srcId="{B8D1D5A5-191C-4648-A346-53A685D6C652}" destId="{E2108DB1-F5D6-4411-BB22-7BF74429C9EC}"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05150A9-D02A-4278-9EBF-FFB928F0F61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CA"/>
        </a:p>
      </dgm:t>
    </dgm:pt>
    <dgm:pt modelId="{A313E14C-B7EF-45E9-92B2-9B3D7052566C}">
      <dgm:prSet phldrT="[Text]"/>
      <dgm:spPr>
        <a:solidFill>
          <a:srgbClr val="0070C0"/>
        </a:solidFill>
      </dgm:spPr>
      <dgm:t>
        <a:bodyPr/>
        <a:lstStyle/>
        <a:p>
          <a:r>
            <a:rPr lang="en-CA" dirty="0"/>
            <a:t>DOP Feedback (SQL 2022 only)</a:t>
          </a:r>
        </a:p>
      </dgm:t>
    </dgm:pt>
    <dgm:pt modelId="{C1564AA5-E480-4BB8-A902-71246835A390}" type="parTrans" cxnId="{A168F6D8-72D9-4E0F-9D7A-A241414D35F5}">
      <dgm:prSet/>
      <dgm:spPr/>
      <dgm:t>
        <a:bodyPr/>
        <a:lstStyle/>
        <a:p>
          <a:endParaRPr lang="en-CA"/>
        </a:p>
      </dgm:t>
    </dgm:pt>
    <dgm:pt modelId="{25CAE8B8-95AC-411A-AAB5-0F4C68D09AA2}" type="sibTrans" cxnId="{A168F6D8-72D9-4E0F-9D7A-A241414D35F5}">
      <dgm:prSet/>
      <dgm:spPr/>
      <dgm:t>
        <a:bodyPr/>
        <a:lstStyle/>
        <a:p>
          <a:endParaRPr lang="en-CA"/>
        </a:p>
      </dgm:t>
    </dgm:pt>
    <dgm:pt modelId="{89D6D9D0-B3DA-441C-BEF8-DF1422ECAE27}">
      <dgm:prSet phldrT="[Text]"/>
      <dgm:spPr/>
      <dgm:t>
        <a:bodyPr/>
        <a:lstStyle/>
        <a:p>
          <a:r>
            <a:rPr lang="en-CA" dirty="0">
              <a:solidFill>
                <a:srgbClr val="0070C0"/>
              </a:solidFill>
            </a:rPr>
            <a:t>Part of Intelligent Query Processing</a:t>
          </a:r>
          <a:endParaRPr lang="en-CA" dirty="0"/>
        </a:p>
      </dgm:t>
    </dgm:pt>
    <dgm:pt modelId="{2A71F652-F2CC-4238-A34A-832A59916ADA}" type="parTrans" cxnId="{2F50FC88-C39C-4B5E-84B0-A241D252EED3}">
      <dgm:prSet/>
      <dgm:spPr/>
      <dgm:t>
        <a:bodyPr/>
        <a:lstStyle/>
        <a:p>
          <a:endParaRPr lang="en-CA"/>
        </a:p>
      </dgm:t>
    </dgm:pt>
    <dgm:pt modelId="{C6A10A96-0007-4B5B-9EE5-FAE6F182AB94}" type="sibTrans" cxnId="{2F50FC88-C39C-4B5E-84B0-A241D252EED3}">
      <dgm:prSet/>
      <dgm:spPr/>
      <dgm:t>
        <a:bodyPr/>
        <a:lstStyle/>
        <a:p>
          <a:endParaRPr lang="en-CA"/>
        </a:p>
      </dgm:t>
    </dgm:pt>
    <dgm:pt modelId="{1E16FE8A-E77A-41B2-A54A-7B430E5969B8}">
      <dgm:prSet phldrT="[Text]"/>
      <dgm:spPr>
        <a:solidFill>
          <a:srgbClr val="0070C0"/>
        </a:solidFill>
      </dgm:spPr>
      <dgm:t>
        <a:bodyPr/>
        <a:lstStyle/>
        <a:p>
          <a:r>
            <a:rPr lang="en-CA" dirty="0"/>
            <a:t>Available worker threads</a:t>
          </a:r>
        </a:p>
      </dgm:t>
    </dgm:pt>
    <dgm:pt modelId="{98772271-CDA5-4433-8ED5-FAB64009E00B}" type="parTrans" cxnId="{CDE59C8B-DDAC-4DE2-8450-85533E3337B3}">
      <dgm:prSet/>
      <dgm:spPr/>
      <dgm:t>
        <a:bodyPr/>
        <a:lstStyle/>
        <a:p>
          <a:endParaRPr lang="en-CA"/>
        </a:p>
      </dgm:t>
    </dgm:pt>
    <dgm:pt modelId="{60A73AAE-D561-4EBC-A058-3B1F9CA579D1}" type="sibTrans" cxnId="{CDE59C8B-DDAC-4DE2-8450-85533E3337B3}">
      <dgm:prSet/>
      <dgm:spPr/>
      <dgm:t>
        <a:bodyPr/>
        <a:lstStyle/>
        <a:p>
          <a:endParaRPr lang="en-CA"/>
        </a:p>
      </dgm:t>
    </dgm:pt>
    <dgm:pt modelId="{02CFA6EE-D9D6-4133-89CA-2FD7AEAE5C68}">
      <dgm:prSet phldrT="[Text]"/>
      <dgm:spPr/>
      <dgm:t>
        <a:bodyPr/>
        <a:lstStyle/>
        <a:p>
          <a:r>
            <a:rPr lang="en-CA" dirty="0">
              <a:solidFill>
                <a:srgbClr val="0070C0"/>
              </a:solidFill>
            </a:rPr>
            <a:t>The number of available threads can influence the DOP of a query.</a:t>
          </a:r>
          <a:endParaRPr lang="en-CA" dirty="0"/>
        </a:p>
      </dgm:t>
    </dgm:pt>
    <dgm:pt modelId="{25FA0793-D878-4434-B0A7-A83065671ABA}" type="parTrans" cxnId="{5B050D46-176E-4A21-A3B3-5308724FB94E}">
      <dgm:prSet/>
      <dgm:spPr/>
      <dgm:t>
        <a:bodyPr/>
        <a:lstStyle/>
        <a:p>
          <a:endParaRPr lang="en-CA"/>
        </a:p>
      </dgm:t>
    </dgm:pt>
    <dgm:pt modelId="{44CE4EE7-A1EC-426A-AB44-BDFFE18590C3}" type="sibTrans" cxnId="{5B050D46-176E-4A21-A3B3-5308724FB94E}">
      <dgm:prSet/>
      <dgm:spPr/>
      <dgm:t>
        <a:bodyPr/>
        <a:lstStyle/>
        <a:p>
          <a:endParaRPr lang="en-CA"/>
        </a:p>
      </dgm:t>
    </dgm:pt>
    <dgm:pt modelId="{A0CCBC2D-C2E2-4AAC-B77C-D0AE2A9DADB7}">
      <dgm:prSet phldrT="[Text]"/>
      <dgm:spPr>
        <a:solidFill>
          <a:srgbClr val="0070C0"/>
        </a:solidFill>
      </dgm:spPr>
      <dgm:t>
        <a:bodyPr/>
        <a:lstStyle/>
        <a:p>
          <a:r>
            <a:rPr lang="en-CA" dirty="0"/>
            <a:t>CPU Affinity</a:t>
          </a:r>
        </a:p>
      </dgm:t>
    </dgm:pt>
    <dgm:pt modelId="{4DE4027C-AC69-435C-B593-4DF646153CCC}" type="parTrans" cxnId="{5F885F80-E2E3-4F41-AD77-B9CEFB418A76}">
      <dgm:prSet/>
      <dgm:spPr/>
      <dgm:t>
        <a:bodyPr/>
        <a:lstStyle/>
        <a:p>
          <a:endParaRPr lang="en-CA"/>
        </a:p>
      </dgm:t>
    </dgm:pt>
    <dgm:pt modelId="{9509A11F-F794-48FE-9A7E-90D4C50672BE}" type="sibTrans" cxnId="{5F885F80-E2E3-4F41-AD77-B9CEFB418A76}">
      <dgm:prSet/>
      <dgm:spPr/>
      <dgm:t>
        <a:bodyPr/>
        <a:lstStyle/>
        <a:p>
          <a:endParaRPr lang="en-CA"/>
        </a:p>
      </dgm:t>
    </dgm:pt>
    <dgm:pt modelId="{D7E0E204-AD30-46D5-8CCC-558C9FC57C9E}">
      <dgm:prSet phldrT="[Text]"/>
      <dgm:spPr/>
      <dgm:t>
        <a:bodyPr/>
        <a:lstStyle/>
        <a:p>
          <a:r>
            <a:rPr lang="en-CA" dirty="0">
              <a:solidFill>
                <a:srgbClr val="0070C0"/>
              </a:solidFill>
            </a:rPr>
            <a:t>Processor affinity configuration must allow SQL Server to use at least two processors</a:t>
          </a:r>
        </a:p>
      </dgm:t>
    </dgm:pt>
    <dgm:pt modelId="{2BA14903-9A8E-4C1C-9DBD-35E67EE76C61}" type="parTrans" cxnId="{AEAB8042-7B13-4C48-A617-C11292ACF91F}">
      <dgm:prSet/>
      <dgm:spPr/>
      <dgm:t>
        <a:bodyPr/>
        <a:lstStyle/>
        <a:p>
          <a:endParaRPr lang="en-CA"/>
        </a:p>
      </dgm:t>
    </dgm:pt>
    <dgm:pt modelId="{93A2D0ED-9526-4CAE-A1A8-7530F21049C9}" type="sibTrans" cxnId="{AEAB8042-7B13-4C48-A617-C11292ACF91F}">
      <dgm:prSet/>
      <dgm:spPr/>
      <dgm:t>
        <a:bodyPr/>
        <a:lstStyle/>
        <a:p>
          <a:endParaRPr lang="en-CA"/>
        </a:p>
      </dgm:t>
    </dgm:pt>
    <dgm:pt modelId="{B91973B4-BAD4-4656-B1C2-7FC6DB765FFA}">
      <dgm:prSet phldrT="[Text]"/>
      <dgm:spPr>
        <a:solidFill>
          <a:srgbClr val="0070C0"/>
        </a:solidFill>
      </dgm:spPr>
      <dgm:t>
        <a:bodyPr/>
        <a:lstStyle/>
        <a:p>
          <a:r>
            <a:rPr lang="en-CA" dirty="0"/>
            <a:t>Logical CPU</a:t>
          </a:r>
        </a:p>
      </dgm:t>
    </dgm:pt>
    <dgm:pt modelId="{614ABB7E-691C-42F2-BE3F-95CC592D9548}" type="parTrans" cxnId="{6A38EBB1-1E72-4651-A6D4-7F19FD4F8976}">
      <dgm:prSet/>
      <dgm:spPr/>
      <dgm:t>
        <a:bodyPr/>
        <a:lstStyle/>
        <a:p>
          <a:endParaRPr lang="en-CA"/>
        </a:p>
      </dgm:t>
    </dgm:pt>
    <dgm:pt modelId="{9733F86F-69E1-408F-B0D2-C68985AF58D2}" type="sibTrans" cxnId="{6A38EBB1-1E72-4651-A6D4-7F19FD4F8976}">
      <dgm:prSet/>
      <dgm:spPr/>
      <dgm:t>
        <a:bodyPr/>
        <a:lstStyle/>
        <a:p>
          <a:endParaRPr lang="en-CA"/>
        </a:p>
      </dgm:t>
    </dgm:pt>
    <dgm:pt modelId="{494D99B3-6E45-471A-8DE3-BE7AA9756E8F}">
      <dgm:prSet phldrT="[Text]"/>
      <dgm:spPr/>
      <dgm:t>
        <a:bodyPr/>
        <a:lstStyle/>
        <a:p>
          <a:r>
            <a:rPr lang="en-CA" dirty="0">
              <a:solidFill>
                <a:srgbClr val="0070C0"/>
              </a:solidFill>
            </a:rPr>
            <a:t>Ultimately, the number of logical processors limits DOP</a:t>
          </a:r>
        </a:p>
      </dgm:t>
    </dgm:pt>
    <dgm:pt modelId="{FD25055F-5F8B-41BC-89AB-28893CAF9EE8}" type="parTrans" cxnId="{C73804B3-747C-46E8-A707-BEF88E634C08}">
      <dgm:prSet/>
      <dgm:spPr/>
      <dgm:t>
        <a:bodyPr/>
        <a:lstStyle/>
        <a:p>
          <a:endParaRPr lang="en-CA"/>
        </a:p>
      </dgm:t>
    </dgm:pt>
    <dgm:pt modelId="{ADE3904E-DEEC-4F41-98EC-236C6E3FD90A}" type="sibTrans" cxnId="{C73804B3-747C-46E8-A707-BEF88E634C08}">
      <dgm:prSet/>
      <dgm:spPr/>
      <dgm:t>
        <a:bodyPr/>
        <a:lstStyle/>
        <a:p>
          <a:endParaRPr lang="en-CA"/>
        </a:p>
      </dgm:t>
    </dgm:pt>
    <dgm:pt modelId="{F8D4927D-A0BE-41FB-B0DA-B39E2172880C}">
      <dgm:prSet phldrT="[Text]"/>
      <dgm:spPr/>
      <dgm:t>
        <a:bodyPr/>
        <a:lstStyle/>
        <a:p>
          <a:r>
            <a:rPr lang="en-CA" dirty="0">
              <a:solidFill>
                <a:srgbClr val="0070C0"/>
              </a:solidFill>
            </a:rPr>
            <a:t>Dynamically lowers DOP of query to improve performance.</a:t>
          </a:r>
        </a:p>
      </dgm:t>
    </dgm:pt>
    <dgm:pt modelId="{7C6349BA-2C00-447C-8574-E4D4CF45E403}" type="parTrans" cxnId="{B109C752-6E64-4A93-95CB-1721E89EB6E3}">
      <dgm:prSet/>
      <dgm:spPr/>
      <dgm:t>
        <a:bodyPr/>
        <a:lstStyle/>
        <a:p>
          <a:endParaRPr lang="en-CA"/>
        </a:p>
      </dgm:t>
    </dgm:pt>
    <dgm:pt modelId="{376ABC3A-E1C5-46B6-8525-2B6F4B9AC3EF}" type="sibTrans" cxnId="{B109C752-6E64-4A93-95CB-1721E89EB6E3}">
      <dgm:prSet/>
      <dgm:spPr/>
      <dgm:t>
        <a:bodyPr/>
        <a:lstStyle/>
        <a:p>
          <a:endParaRPr lang="en-CA"/>
        </a:p>
      </dgm:t>
    </dgm:pt>
    <dgm:pt modelId="{0959C35A-EDA7-4DC5-B1E1-432AC1DA314A}" type="pres">
      <dgm:prSet presAssocID="{C05150A9-D02A-4278-9EBF-FFB928F0F619}" presName="linear" presStyleCnt="0">
        <dgm:presLayoutVars>
          <dgm:animLvl val="lvl"/>
          <dgm:resizeHandles val="exact"/>
        </dgm:presLayoutVars>
      </dgm:prSet>
      <dgm:spPr/>
    </dgm:pt>
    <dgm:pt modelId="{DC5EC5FB-B38C-4784-B6E1-579899BC207E}" type="pres">
      <dgm:prSet presAssocID="{A313E14C-B7EF-45E9-92B2-9B3D7052566C}" presName="parentText" presStyleLbl="node1" presStyleIdx="0" presStyleCnt="4">
        <dgm:presLayoutVars>
          <dgm:chMax val="0"/>
          <dgm:bulletEnabled val="1"/>
        </dgm:presLayoutVars>
      </dgm:prSet>
      <dgm:spPr/>
    </dgm:pt>
    <dgm:pt modelId="{83029A18-E4F2-4345-BF3B-157E425EE35C}" type="pres">
      <dgm:prSet presAssocID="{A313E14C-B7EF-45E9-92B2-9B3D7052566C}" presName="childText" presStyleLbl="revTx" presStyleIdx="0" presStyleCnt="4">
        <dgm:presLayoutVars>
          <dgm:bulletEnabled val="1"/>
        </dgm:presLayoutVars>
      </dgm:prSet>
      <dgm:spPr/>
    </dgm:pt>
    <dgm:pt modelId="{A8A7A0FE-2097-4C9F-B8C2-6442A9D269D3}" type="pres">
      <dgm:prSet presAssocID="{1E16FE8A-E77A-41B2-A54A-7B430E5969B8}" presName="parentText" presStyleLbl="node1" presStyleIdx="1" presStyleCnt="4">
        <dgm:presLayoutVars>
          <dgm:chMax val="0"/>
          <dgm:bulletEnabled val="1"/>
        </dgm:presLayoutVars>
      </dgm:prSet>
      <dgm:spPr/>
    </dgm:pt>
    <dgm:pt modelId="{51BAF268-35ED-4730-9169-DADCE9E9F88A}" type="pres">
      <dgm:prSet presAssocID="{1E16FE8A-E77A-41B2-A54A-7B430E5969B8}" presName="childText" presStyleLbl="revTx" presStyleIdx="1" presStyleCnt="4">
        <dgm:presLayoutVars>
          <dgm:bulletEnabled val="1"/>
        </dgm:presLayoutVars>
      </dgm:prSet>
      <dgm:spPr/>
    </dgm:pt>
    <dgm:pt modelId="{99284118-0EFA-404B-B6BE-658D50FD5149}" type="pres">
      <dgm:prSet presAssocID="{A0CCBC2D-C2E2-4AAC-B77C-D0AE2A9DADB7}" presName="parentText" presStyleLbl="node1" presStyleIdx="2" presStyleCnt="4">
        <dgm:presLayoutVars>
          <dgm:chMax val="0"/>
          <dgm:bulletEnabled val="1"/>
        </dgm:presLayoutVars>
      </dgm:prSet>
      <dgm:spPr/>
    </dgm:pt>
    <dgm:pt modelId="{C8642609-6F0D-495E-9C83-4A1171FE63AB}" type="pres">
      <dgm:prSet presAssocID="{A0CCBC2D-C2E2-4AAC-B77C-D0AE2A9DADB7}" presName="childText" presStyleLbl="revTx" presStyleIdx="2" presStyleCnt="4">
        <dgm:presLayoutVars>
          <dgm:bulletEnabled val="1"/>
        </dgm:presLayoutVars>
      </dgm:prSet>
      <dgm:spPr/>
    </dgm:pt>
    <dgm:pt modelId="{BF53DFDE-C768-4C4C-AE2E-8981BB541480}" type="pres">
      <dgm:prSet presAssocID="{B91973B4-BAD4-4656-B1C2-7FC6DB765FFA}" presName="parentText" presStyleLbl="node1" presStyleIdx="3" presStyleCnt="4">
        <dgm:presLayoutVars>
          <dgm:chMax val="0"/>
          <dgm:bulletEnabled val="1"/>
        </dgm:presLayoutVars>
      </dgm:prSet>
      <dgm:spPr/>
    </dgm:pt>
    <dgm:pt modelId="{048E853F-1C1B-43F8-B8E6-59673609B906}" type="pres">
      <dgm:prSet presAssocID="{B91973B4-BAD4-4656-B1C2-7FC6DB765FFA}" presName="childText" presStyleLbl="revTx" presStyleIdx="3" presStyleCnt="4">
        <dgm:presLayoutVars>
          <dgm:bulletEnabled val="1"/>
        </dgm:presLayoutVars>
      </dgm:prSet>
      <dgm:spPr/>
    </dgm:pt>
  </dgm:ptLst>
  <dgm:cxnLst>
    <dgm:cxn modelId="{F061AC61-1C95-4E78-A3EE-B3CC2EC353BC}" type="presOf" srcId="{A313E14C-B7EF-45E9-92B2-9B3D7052566C}" destId="{DC5EC5FB-B38C-4784-B6E1-579899BC207E}" srcOrd="0" destOrd="0" presId="urn:microsoft.com/office/officeart/2005/8/layout/vList2"/>
    <dgm:cxn modelId="{AEAB8042-7B13-4C48-A617-C11292ACF91F}" srcId="{A0CCBC2D-C2E2-4AAC-B77C-D0AE2A9DADB7}" destId="{D7E0E204-AD30-46D5-8CCC-558C9FC57C9E}" srcOrd="0" destOrd="0" parTransId="{2BA14903-9A8E-4C1C-9DBD-35E67EE76C61}" sibTransId="{93A2D0ED-9526-4CAE-A1A8-7530F21049C9}"/>
    <dgm:cxn modelId="{A8978E42-F424-4FDD-AB5A-A1FE2A3DB05E}" type="presOf" srcId="{B91973B4-BAD4-4656-B1C2-7FC6DB765FFA}" destId="{BF53DFDE-C768-4C4C-AE2E-8981BB541480}" srcOrd="0" destOrd="0" presId="urn:microsoft.com/office/officeart/2005/8/layout/vList2"/>
    <dgm:cxn modelId="{5B050D46-176E-4A21-A3B3-5308724FB94E}" srcId="{1E16FE8A-E77A-41B2-A54A-7B430E5969B8}" destId="{02CFA6EE-D9D6-4133-89CA-2FD7AEAE5C68}" srcOrd="0" destOrd="0" parTransId="{25FA0793-D878-4434-B0A7-A83065671ABA}" sibTransId="{44CE4EE7-A1EC-426A-AB44-BDFFE18590C3}"/>
    <dgm:cxn modelId="{B109C752-6E64-4A93-95CB-1721E89EB6E3}" srcId="{A313E14C-B7EF-45E9-92B2-9B3D7052566C}" destId="{F8D4927D-A0BE-41FB-B0DA-B39E2172880C}" srcOrd="1" destOrd="0" parTransId="{7C6349BA-2C00-447C-8574-E4D4CF45E403}" sibTransId="{376ABC3A-E1C5-46B6-8525-2B6F4B9AC3EF}"/>
    <dgm:cxn modelId="{ECF83156-DB5D-467F-BFB4-1BC6248394E4}" type="presOf" srcId="{89D6D9D0-B3DA-441C-BEF8-DF1422ECAE27}" destId="{83029A18-E4F2-4345-BF3B-157E425EE35C}" srcOrd="0" destOrd="0" presId="urn:microsoft.com/office/officeart/2005/8/layout/vList2"/>
    <dgm:cxn modelId="{5F885F80-E2E3-4F41-AD77-B9CEFB418A76}" srcId="{C05150A9-D02A-4278-9EBF-FFB928F0F619}" destId="{A0CCBC2D-C2E2-4AAC-B77C-D0AE2A9DADB7}" srcOrd="2" destOrd="0" parTransId="{4DE4027C-AC69-435C-B593-4DF646153CCC}" sibTransId="{9509A11F-F794-48FE-9A7E-90D4C50672BE}"/>
    <dgm:cxn modelId="{2F50FC88-C39C-4B5E-84B0-A241D252EED3}" srcId="{A313E14C-B7EF-45E9-92B2-9B3D7052566C}" destId="{89D6D9D0-B3DA-441C-BEF8-DF1422ECAE27}" srcOrd="0" destOrd="0" parTransId="{2A71F652-F2CC-4238-A34A-832A59916ADA}" sibTransId="{C6A10A96-0007-4B5B-9EE5-FAE6F182AB94}"/>
    <dgm:cxn modelId="{CDE59C8B-DDAC-4DE2-8450-85533E3337B3}" srcId="{C05150A9-D02A-4278-9EBF-FFB928F0F619}" destId="{1E16FE8A-E77A-41B2-A54A-7B430E5969B8}" srcOrd="1" destOrd="0" parTransId="{98772271-CDA5-4433-8ED5-FAB64009E00B}" sibTransId="{60A73AAE-D561-4EBC-A058-3B1F9CA579D1}"/>
    <dgm:cxn modelId="{428DC798-4FC7-4DE8-BC92-E834912E731E}" type="presOf" srcId="{1E16FE8A-E77A-41B2-A54A-7B430E5969B8}" destId="{A8A7A0FE-2097-4C9F-B8C2-6442A9D269D3}" srcOrd="0" destOrd="0" presId="urn:microsoft.com/office/officeart/2005/8/layout/vList2"/>
    <dgm:cxn modelId="{55CD83A8-77EE-453E-851C-6F7DAAE47837}" type="presOf" srcId="{C05150A9-D02A-4278-9EBF-FFB928F0F619}" destId="{0959C35A-EDA7-4DC5-B1E1-432AC1DA314A}" srcOrd="0" destOrd="0" presId="urn:microsoft.com/office/officeart/2005/8/layout/vList2"/>
    <dgm:cxn modelId="{6A38EBB1-1E72-4651-A6D4-7F19FD4F8976}" srcId="{C05150A9-D02A-4278-9EBF-FFB928F0F619}" destId="{B91973B4-BAD4-4656-B1C2-7FC6DB765FFA}" srcOrd="3" destOrd="0" parTransId="{614ABB7E-691C-42F2-BE3F-95CC592D9548}" sibTransId="{9733F86F-69E1-408F-B0D2-C68985AF58D2}"/>
    <dgm:cxn modelId="{C73804B3-747C-46E8-A707-BEF88E634C08}" srcId="{B91973B4-BAD4-4656-B1C2-7FC6DB765FFA}" destId="{494D99B3-6E45-471A-8DE3-BE7AA9756E8F}" srcOrd="0" destOrd="0" parTransId="{FD25055F-5F8B-41BC-89AB-28893CAF9EE8}" sibTransId="{ADE3904E-DEEC-4F41-98EC-236C6E3FD90A}"/>
    <dgm:cxn modelId="{547168C8-DE22-4959-827A-065A6460DDF4}" type="presOf" srcId="{D7E0E204-AD30-46D5-8CCC-558C9FC57C9E}" destId="{C8642609-6F0D-495E-9C83-4A1171FE63AB}" srcOrd="0" destOrd="0" presId="urn:microsoft.com/office/officeart/2005/8/layout/vList2"/>
    <dgm:cxn modelId="{D5CACECF-6D71-49B1-8960-C129B0506F49}" type="presOf" srcId="{F8D4927D-A0BE-41FB-B0DA-B39E2172880C}" destId="{83029A18-E4F2-4345-BF3B-157E425EE35C}" srcOrd="0" destOrd="1" presId="urn:microsoft.com/office/officeart/2005/8/layout/vList2"/>
    <dgm:cxn modelId="{A168F6D8-72D9-4E0F-9D7A-A241414D35F5}" srcId="{C05150A9-D02A-4278-9EBF-FFB928F0F619}" destId="{A313E14C-B7EF-45E9-92B2-9B3D7052566C}" srcOrd="0" destOrd="0" parTransId="{C1564AA5-E480-4BB8-A902-71246835A390}" sibTransId="{25CAE8B8-95AC-411A-AAB5-0F4C68D09AA2}"/>
    <dgm:cxn modelId="{7D4B34DF-3082-4718-AA30-6A498DD7C3BA}" type="presOf" srcId="{A0CCBC2D-C2E2-4AAC-B77C-D0AE2A9DADB7}" destId="{99284118-0EFA-404B-B6BE-658D50FD5149}" srcOrd="0" destOrd="0" presId="urn:microsoft.com/office/officeart/2005/8/layout/vList2"/>
    <dgm:cxn modelId="{4AB817EC-466A-40AD-8804-40EB2085FE59}" type="presOf" srcId="{494D99B3-6E45-471A-8DE3-BE7AA9756E8F}" destId="{048E853F-1C1B-43F8-B8E6-59673609B906}" srcOrd="0" destOrd="0" presId="urn:microsoft.com/office/officeart/2005/8/layout/vList2"/>
    <dgm:cxn modelId="{C4AC2CF8-0DD6-4CDB-8B8A-B83E32678556}" type="presOf" srcId="{02CFA6EE-D9D6-4133-89CA-2FD7AEAE5C68}" destId="{51BAF268-35ED-4730-9169-DADCE9E9F88A}" srcOrd="0" destOrd="0" presId="urn:microsoft.com/office/officeart/2005/8/layout/vList2"/>
    <dgm:cxn modelId="{EF0DD4EE-B013-4BF8-95EA-40F631B5CBA2}" type="presParOf" srcId="{0959C35A-EDA7-4DC5-B1E1-432AC1DA314A}" destId="{DC5EC5FB-B38C-4784-B6E1-579899BC207E}" srcOrd="0" destOrd="0" presId="urn:microsoft.com/office/officeart/2005/8/layout/vList2"/>
    <dgm:cxn modelId="{A2AA7061-6353-49D2-923D-7B2576A1D4F6}" type="presParOf" srcId="{0959C35A-EDA7-4DC5-B1E1-432AC1DA314A}" destId="{83029A18-E4F2-4345-BF3B-157E425EE35C}" srcOrd="1" destOrd="0" presId="urn:microsoft.com/office/officeart/2005/8/layout/vList2"/>
    <dgm:cxn modelId="{BC8BDE45-8A81-4181-9656-6DAA8067587F}" type="presParOf" srcId="{0959C35A-EDA7-4DC5-B1E1-432AC1DA314A}" destId="{A8A7A0FE-2097-4C9F-B8C2-6442A9D269D3}" srcOrd="2" destOrd="0" presId="urn:microsoft.com/office/officeart/2005/8/layout/vList2"/>
    <dgm:cxn modelId="{D491BEAB-3287-44F9-A0E8-800D908306E1}" type="presParOf" srcId="{0959C35A-EDA7-4DC5-B1E1-432AC1DA314A}" destId="{51BAF268-35ED-4730-9169-DADCE9E9F88A}" srcOrd="3" destOrd="0" presId="urn:microsoft.com/office/officeart/2005/8/layout/vList2"/>
    <dgm:cxn modelId="{AEA300FD-549B-4E08-839F-CA3BB75A4E85}" type="presParOf" srcId="{0959C35A-EDA7-4DC5-B1E1-432AC1DA314A}" destId="{99284118-0EFA-404B-B6BE-658D50FD5149}" srcOrd="4" destOrd="0" presId="urn:microsoft.com/office/officeart/2005/8/layout/vList2"/>
    <dgm:cxn modelId="{F4B08186-11E7-4B1C-BA1D-7591229CED44}" type="presParOf" srcId="{0959C35A-EDA7-4DC5-B1E1-432AC1DA314A}" destId="{C8642609-6F0D-495E-9C83-4A1171FE63AB}" srcOrd="5" destOrd="0" presId="urn:microsoft.com/office/officeart/2005/8/layout/vList2"/>
    <dgm:cxn modelId="{2CC681A8-45DD-40B6-87EA-1649CB9F7271}" type="presParOf" srcId="{0959C35A-EDA7-4DC5-B1E1-432AC1DA314A}" destId="{BF53DFDE-C768-4C4C-AE2E-8981BB541480}" srcOrd="6" destOrd="0" presId="urn:microsoft.com/office/officeart/2005/8/layout/vList2"/>
    <dgm:cxn modelId="{61528BCA-36CC-4853-8FD7-3EE306819344}" type="presParOf" srcId="{0959C35A-EDA7-4DC5-B1E1-432AC1DA314A}" destId="{048E853F-1C1B-43F8-B8E6-59673609B906}"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05150A9-D02A-4278-9EBF-FFB928F0F61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CA"/>
        </a:p>
      </dgm:t>
    </dgm:pt>
    <dgm:pt modelId="{A313E14C-B7EF-45E9-92B2-9B3D7052566C}">
      <dgm:prSet phldrT="[Text]"/>
      <dgm:spPr>
        <a:solidFill>
          <a:srgbClr val="0070C0"/>
        </a:solidFill>
      </dgm:spPr>
      <dgm:t>
        <a:bodyPr/>
        <a:lstStyle/>
        <a:p>
          <a:r>
            <a:rPr lang="en-CA" dirty="0"/>
            <a:t>Scalar UDF</a:t>
          </a:r>
        </a:p>
      </dgm:t>
    </dgm:pt>
    <dgm:pt modelId="{C1564AA5-E480-4BB8-A902-71246835A390}" type="parTrans" cxnId="{A168F6D8-72D9-4E0F-9D7A-A241414D35F5}">
      <dgm:prSet/>
      <dgm:spPr/>
      <dgm:t>
        <a:bodyPr/>
        <a:lstStyle/>
        <a:p>
          <a:endParaRPr lang="en-CA"/>
        </a:p>
      </dgm:t>
    </dgm:pt>
    <dgm:pt modelId="{25CAE8B8-95AC-411A-AAB5-0F4C68D09AA2}" type="sibTrans" cxnId="{A168F6D8-72D9-4E0F-9D7A-A241414D35F5}">
      <dgm:prSet/>
      <dgm:spPr/>
      <dgm:t>
        <a:bodyPr/>
        <a:lstStyle/>
        <a:p>
          <a:endParaRPr lang="en-CA"/>
        </a:p>
      </dgm:t>
    </dgm:pt>
    <dgm:pt modelId="{1E16FE8A-E77A-41B2-A54A-7B430E5969B8}">
      <dgm:prSet phldrT="[Text]"/>
      <dgm:spPr>
        <a:solidFill>
          <a:srgbClr val="0070C0"/>
        </a:solidFill>
      </dgm:spPr>
      <dgm:t>
        <a:bodyPr/>
        <a:lstStyle/>
        <a:p>
          <a:r>
            <a:rPr lang="en-CA" dirty="0"/>
            <a:t>Remote query</a:t>
          </a:r>
        </a:p>
      </dgm:t>
    </dgm:pt>
    <dgm:pt modelId="{98772271-CDA5-4433-8ED5-FAB64009E00B}" type="parTrans" cxnId="{CDE59C8B-DDAC-4DE2-8450-85533E3337B3}">
      <dgm:prSet/>
      <dgm:spPr/>
      <dgm:t>
        <a:bodyPr/>
        <a:lstStyle/>
        <a:p>
          <a:endParaRPr lang="en-CA"/>
        </a:p>
      </dgm:t>
    </dgm:pt>
    <dgm:pt modelId="{60A73AAE-D561-4EBC-A058-3B1F9CA579D1}" type="sibTrans" cxnId="{CDE59C8B-DDAC-4DE2-8450-85533E3337B3}">
      <dgm:prSet/>
      <dgm:spPr/>
      <dgm:t>
        <a:bodyPr/>
        <a:lstStyle/>
        <a:p>
          <a:endParaRPr lang="en-CA"/>
        </a:p>
      </dgm:t>
    </dgm:pt>
    <dgm:pt modelId="{A0CCBC2D-C2E2-4AAC-B77C-D0AE2A9DADB7}">
      <dgm:prSet phldrT="[Text]"/>
      <dgm:spPr>
        <a:solidFill>
          <a:srgbClr val="0070C0"/>
        </a:solidFill>
      </dgm:spPr>
      <dgm:t>
        <a:bodyPr/>
        <a:lstStyle/>
        <a:p>
          <a:r>
            <a:rPr lang="en-CA" dirty="0"/>
            <a:t>Dynamic Cursors</a:t>
          </a:r>
        </a:p>
      </dgm:t>
    </dgm:pt>
    <dgm:pt modelId="{4DE4027C-AC69-435C-B593-4DF646153CCC}" type="parTrans" cxnId="{5F885F80-E2E3-4F41-AD77-B9CEFB418A76}">
      <dgm:prSet/>
      <dgm:spPr/>
      <dgm:t>
        <a:bodyPr/>
        <a:lstStyle/>
        <a:p>
          <a:endParaRPr lang="en-CA"/>
        </a:p>
      </dgm:t>
    </dgm:pt>
    <dgm:pt modelId="{9509A11F-F794-48FE-9A7E-90D4C50672BE}" type="sibTrans" cxnId="{5F885F80-E2E3-4F41-AD77-B9CEFB418A76}">
      <dgm:prSet/>
      <dgm:spPr/>
      <dgm:t>
        <a:bodyPr/>
        <a:lstStyle/>
        <a:p>
          <a:endParaRPr lang="en-CA"/>
        </a:p>
      </dgm:t>
    </dgm:pt>
    <dgm:pt modelId="{B91973B4-BAD4-4656-B1C2-7FC6DB765FFA}">
      <dgm:prSet phldrT="[Text]"/>
      <dgm:spPr>
        <a:solidFill>
          <a:srgbClr val="0070C0"/>
        </a:solidFill>
      </dgm:spPr>
      <dgm:t>
        <a:bodyPr/>
        <a:lstStyle/>
        <a:p>
          <a:r>
            <a:rPr lang="en-CA" dirty="0"/>
            <a:t>Recursive Queries</a:t>
          </a:r>
        </a:p>
      </dgm:t>
    </dgm:pt>
    <dgm:pt modelId="{614ABB7E-691C-42F2-BE3F-95CC592D9548}" type="parTrans" cxnId="{6A38EBB1-1E72-4651-A6D4-7F19FD4F8976}">
      <dgm:prSet/>
      <dgm:spPr/>
      <dgm:t>
        <a:bodyPr/>
        <a:lstStyle/>
        <a:p>
          <a:endParaRPr lang="en-CA"/>
        </a:p>
      </dgm:t>
    </dgm:pt>
    <dgm:pt modelId="{9733F86F-69E1-408F-B0D2-C68985AF58D2}" type="sibTrans" cxnId="{6A38EBB1-1E72-4651-A6D4-7F19FD4F8976}">
      <dgm:prSet/>
      <dgm:spPr/>
      <dgm:t>
        <a:bodyPr/>
        <a:lstStyle/>
        <a:p>
          <a:endParaRPr lang="en-CA"/>
        </a:p>
      </dgm:t>
    </dgm:pt>
    <dgm:pt modelId="{494D99B3-6E45-471A-8DE3-BE7AA9756E8F}">
      <dgm:prSet phldrT="[Text]"/>
      <dgm:spPr>
        <a:solidFill>
          <a:srgbClr val="0070C0"/>
        </a:solidFill>
      </dgm:spPr>
      <dgm:t>
        <a:bodyPr/>
        <a:lstStyle/>
        <a:p>
          <a:r>
            <a:rPr lang="en-CA" dirty="0">
              <a:solidFill>
                <a:schemeClr val="bg1"/>
              </a:solidFill>
            </a:rPr>
            <a:t>TOP keyword</a:t>
          </a:r>
        </a:p>
      </dgm:t>
    </dgm:pt>
    <dgm:pt modelId="{FD25055F-5F8B-41BC-89AB-28893CAF9EE8}" type="parTrans" cxnId="{C73804B3-747C-46E8-A707-BEF88E634C08}">
      <dgm:prSet/>
      <dgm:spPr/>
      <dgm:t>
        <a:bodyPr/>
        <a:lstStyle/>
        <a:p>
          <a:endParaRPr lang="en-CA"/>
        </a:p>
      </dgm:t>
    </dgm:pt>
    <dgm:pt modelId="{ADE3904E-DEEC-4F41-98EC-236C6E3FD90A}" type="sibTrans" cxnId="{C73804B3-747C-46E8-A707-BEF88E634C08}">
      <dgm:prSet/>
      <dgm:spPr/>
      <dgm:t>
        <a:bodyPr/>
        <a:lstStyle/>
        <a:p>
          <a:endParaRPr lang="en-CA"/>
        </a:p>
      </dgm:t>
    </dgm:pt>
    <dgm:pt modelId="{0959C35A-EDA7-4DC5-B1E1-432AC1DA314A}" type="pres">
      <dgm:prSet presAssocID="{C05150A9-D02A-4278-9EBF-FFB928F0F619}" presName="linear" presStyleCnt="0">
        <dgm:presLayoutVars>
          <dgm:animLvl val="lvl"/>
          <dgm:resizeHandles val="exact"/>
        </dgm:presLayoutVars>
      </dgm:prSet>
      <dgm:spPr/>
    </dgm:pt>
    <dgm:pt modelId="{DC5EC5FB-B38C-4784-B6E1-579899BC207E}" type="pres">
      <dgm:prSet presAssocID="{A313E14C-B7EF-45E9-92B2-9B3D7052566C}" presName="parentText" presStyleLbl="node1" presStyleIdx="0" presStyleCnt="5">
        <dgm:presLayoutVars>
          <dgm:chMax val="0"/>
          <dgm:bulletEnabled val="1"/>
        </dgm:presLayoutVars>
      </dgm:prSet>
      <dgm:spPr/>
    </dgm:pt>
    <dgm:pt modelId="{6F091CAF-45DF-417A-80FE-86A8FE0514EF}" type="pres">
      <dgm:prSet presAssocID="{25CAE8B8-95AC-411A-AAB5-0F4C68D09AA2}" presName="spacer" presStyleCnt="0"/>
      <dgm:spPr/>
    </dgm:pt>
    <dgm:pt modelId="{A8A7A0FE-2097-4C9F-B8C2-6442A9D269D3}" type="pres">
      <dgm:prSet presAssocID="{1E16FE8A-E77A-41B2-A54A-7B430E5969B8}" presName="parentText" presStyleLbl="node1" presStyleIdx="1" presStyleCnt="5">
        <dgm:presLayoutVars>
          <dgm:chMax val="0"/>
          <dgm:bulletEnabled val="1"/>
        </dgm:presLayoutVars>
      </dgm:prSet>
      <dgm:spPr/>
    </dgm:pt>
    <dgm:pt modelId="{68A90AD3-604F-4E37-A57C-F0B0496F8D41}" type="pres">
      <dgm:prSet presAssocID="{60A73AAE-D561-4EBC-A058-3B1F9CA579D1}" presName="spacer" presStyleCnt="0"/>
      <dgm:spPr/>
    </dgm:pt>
    <dgm:pt modelId="{99284118-0EFA-404B-B6BE-658D50FD5149}" type="pres">
      <dgm:prSet presAssocID="{A0CCBC2D-C2E2-4AAC-B77C-D0AE2A9DADB7}" presName="parentText" presStyleLbl="node1" presStyleIdx="2" presStyleCnt="5">
        <dgm:presLayoutVars>
          <dgm:chMax val="0"/>
          <dgm:bulletEnabled val="1"/>
        </dgm:presLayoutVars>
      </dgm:prSet>
      <dgm:spPr/>
    </dgm:pt>
    <dgm:pt modelId="{F40F5470-234F-4980-AA15-1A3AA3A1791F}" type="pres">
      <dgm:prSet presAssocID="{9509A11F-F794-48FE-9A7E-90D4C50672BE}" presName="spacer" presStyleCnt="0"/>
      <dgm:spPr/>
    </dgm:pt>
    <dgm:pt modelId="{BF53DFDE-C768-4C4C-AE2E-8981BB541480}" type="pres">
      <dgm:prSet presAssocID="{B91973B4-BAD4-4656-B1C2-7FC6DB765FFA}" presName="parentText" presStyleLbl="node1" presStyleIdx="3" presStyleCnt="5">
        <dgm:presLayoutVars>
          <dgm:chMax val="0"/>
          <dgm:bulletEnabled val="1"/>
        </dgm:presLayoutVars>
      </dgm:prSet>
      <dgm:spPr/>
    </dgm:pt>
    <dgm:pt modelId="{782D34AA-3537-495A-B306-00C559DF7FA4}" type="pres">
      <dgm:prSet presAssocID="{9733F86F-69E1-408F-B0D2-C68985AF58D2}" presName="spacer" presStyleCnt="0"/>
      <dgm:spPr/>
    </dgm:pt>
    <dgm:pt modelId="{BE2BBF85-32D2-4718-8429-8423095A1BBA}" type="pres">
      <dgm:prSet presAssocID="{494D99B3-6E45-471A-8DE3-BE7AA9756E8F}" presName="parentText" presStyleLbl="node1" presStyleIdx="4" presStyleCnt="5">
        <dgm:presLayoutVars>
          <dgm:chMax val="0"/>
          <dgm:bulletEnabled val="1"/>
        </dgm:presLayoutVars>
      </dgm:prSet>
      <dgm:spPr/>
    </dgm:pt>
  </dgm:ptLst>
  <dgm:cxnLst>
    <dgm:cxn modelId="{F061AC61-1C95-4E78-A3EE-B3CC2EC353BC}" type="presOf" srcId="{A313E14C-B7EF-45E9-92B2-9B3D7052566C}" destId="{DC5EC5FB-B38C-4784-B6E1-579899BC207E}" srcOrd="0" destOrd="0" presId="urn:microsoft.com/office/officeart/2005/8/layout/vList2"/>
    <dgm:cxn modelId="{A8978E42-F424-4FDD-AB5A-A1FE2A3DB05E}" type="presOf" srcId="{B91973B4-BAD4-4656-B1C2-7FC6DB765FFA}" destId="{BF53DFDE-C768-4C4C-AE2E-8981BB541480}" srcOrd="0" destOrd="0" presId="urn:microsoft.com/office/officeart/2005/8/layout/vList2"/>
    <dgm:cxn modelId="{5F885F80-E2E3-4F41-AD77-B9CEFB418A76}" srcId="{C05150A9-D02A-4278-9EBF-FFB928F0F619}" destId="{A0CCBC2D-C2E2-4AAC-B77C-D0AE2A9DADB7}" srcOrd="2" destOrd="0" parTransId="{4DE4027C-AC69-435C-B593-4DF646153CCC}" sibTransId="{9509A11F-F794-48FE-9A7E-90D4C50672BE}"/>
    <dgm:cxn modelId="{CDE59C8B-DDAC-4DE2-8450-85533E3337B3}" srcId="{C05150A9-D02A-4278-9EBF-FFB928F0F619}" destId="{1E16FE8A-E77A-41B2-A54A-7B430E5969B8}" srcOrd="1" destOrd="0" parTransId="{98772271-CDA5-4433-8ED5-FAB64009E00B}" sibTransId="{60A73AAE-D561-4EBC-A058-3B1F9CA579D1}"/>
    <dgm:cxn modelId="{428DC798-4FC7-4DE8-BC92-E834912E731E}" type="presOf" srcId="{1E16FE8A-E77A-41B2-A54A-7B430E5969B8}" destId="{A8A7A0FE-2097-4C9F-B8C2-6442A9D269D3}" srcOrd="0" destOrd="0" presId="urn:microsoft.com/office/officeart/2005/8/layout/vList2"/>
    <dgm:cxn modelId="{55CD83A8-77EE-453E-851C-6F7DAAE47837}" type="presOf" srcId="{C05150A9-D02A-4278-9EBF-FFB928F0F619}" destId="{0959C35A-EDA7-4DC5-B1E1-432AC1DA314A}" srcOrd="0" destOrd="0" presId="urn:microsoft.com/office/officeart/2005/8/layout/vList2"/>
    <dgm:cxn modelId="{6A38EBB1-1E72-4651-A6D4-7F19FD4F8976}" srcId="{C05150A9-D02A-4278-9EBF-FFB928F0F619}" destId="{B91973B4-BAD4-4656-B1C2-7FC6DB765FFA}" srcOrd="3" destOrd="0" parTransId="{614ABB7E-691C-42F2-BE3F-95CC592D9548}" sibTransId="{9733F86F-69E1-408F-B0D2-C68985AF58D2}"/>
    <dgm:cxn modelId="{C73804B3-747C-46E8-A707-BEF88E634C08}" srcId="{C05150A9-D02A-4278-9EBF-FFB928F0F619}" destId="{494D99B3-6E45-471A-8DE3-BE7AA9756E8F}" srcOrd="4" destOrd="0" parTransId="{FD25055F-5F8B-41BC-89AB-28893CAF9EE8}" sibTransId="{ADE3904E-DEEC-4F41-98EC-236C6E3FD90A}"/>
    <dgm:cxn modelId="{A168F6D8-72D9-4E0F-9D7A-A241414D35F5}" srcId="{C05150A9-D02A-4278-9EBF-FFB928F0F619}" destId="{A313E14C-B7EF-45E9-92B2-9B3D7052566C}" srcOrd="0" destOrd="0" parTransId="{C1564AA5-E480-4BB8-A902-71246835A390}" sibTransId="{25CAE8B8-95AC-411A-AAB5-0F4C68D09AA2}"/>
    <dgm:cxn modelId="{C50E80DC-1E2A-4265-BD46-15DBDC66EB03}" type="presOf" srcId="{494D99B3-6E45-471A-8DE3-BE7AA9756E8F}" destId="{BE2BBF85-32D2-4718-8429-8423095A1BBA}" srcOrd="0" destOrd="0" presId="urn:microsoft.com/office/officeart/2005/8/layout/vList2"/>
    <dgm:cxn modelId="{7D4B34DF-3082-4718-AA30-6A498DD7C3BA}" type="presOf" srcId="{A0CCBC2D-C2E2-4AAC-B77C-D0AE2A9DADB7}" destId="{99284118-0EFA-404B-B6BE-658D50FD5149}" srcOrd="0" destOrd="0" presId="urn:microsoft.com/office/officeart/2005/8/layout/vList2"/>
    <dgm:cxn modelId="{EF0DD4EE-B013-4BF8-95EA-40F631B5CBA2}" type="presParOf" srcId="{0959C35A-EDA7-4DC5-B1E1-432AC1DA314A}" destId="{DC5EC5FB-B38C-4784-B6E1-579899BC207E}" srcOrd="0" destOrd="0" presId="urn:microsoft.com/office/officeart/2005/8/layout/vList2"/>
    <dgm:cxn modelId="{664633A2-6D89-4D18-80FD-74418D8AF945}" type="presParOf" srcId="{0959C35A-EDA7-4DC5-B1E1-432AC1DA314A}" destId="{6F091CAF-45DF-417A-80FE-86A8FE0514EF}" srcOrd="1" destOrd="0" presId="urn:microsoft.com/office/officeart/2005/8/layout/vList2"/>
    <dgm:cxn modelId="{BC8BDE45-8A81-4181-9656-6DAA8067587F}" type="presParOf" srcId="{0959C35A-EDA7-4DC5-B1E1-432AC1DA314A}" destId="{A8A7A0FE-2097-4C9F-B8C2-6442A9D269D3}" srcOrd="2" destOrd="0" presId="urn:microsoft.com/office/officeart/2005/8/layout/vList2"/>
    <dgm:cxn modelId="{9E67ADB5-3670-4F47-BC7D-FEE53B1E5A7F}" type="presParOf" srcId="{0959C35A-EDA7-4DC5-B1E1-432AC1DA314A}" destId="{68A90AD3-604F-4E37-A57C-F0B0496F8D41}" srcOrd="3" destOrd="0" presId="urn:microsoft.com/office/officeart/2005/8/layout/vList2"/>
    <dgm:cxn modelId="{AEA300FD-549B-4E08-839F-CA3BB75A4E85}" type="presParOf" srcId="{0959C35A-EDA7-4DC5-B1E1-432AC1DA314A}" destId="{99284118-0EFA-404B-B6BE-658D50FD5149}" srcOrd="4" destOrd="0" presId="urn:microsoft.com/office/officeart/2005/8/layout/vList2"/>
    <dgm:cxn modelId="{C502DAEC-C3CD-431B-8A1C-72CEC7DEEB6D}" type="presParOf" srcId="{0959C35A-EDA7-4DC5-B1E1-432AC1DA314A}" destId="{F40F5470-234F-4980-AA15-1A3AA3A1791F}" srcOrd="5" destOrd="0" presId="urn:microsoft.com/office/officeart/2005/8/layout/vList2"/>
    <dgm:cxn modelId="{2CC681A8-45DD-40B6-87EA-1649CB9F7271}" type="presParOf" srcId="{0959C35A-EDA7-4DC5-B1E1-432AC1DA314A}" destId="{BF53DFDE-C768-4C4C-AE2E-8981BB541480}" srcOrd="6" destOrd="0" presId="urn:microsoft.com/office/officeart/2005/8/layout/vList2"/>
    <dgm:cxn modelId="{2A39800A-7C1D-4C51-9620-F48718A2A47B}" type="presParOf" srcId="{0959C35A-EDA7-4DC5-B1E1-432AC1DA314A}" destId="{782D34AA-3537-495A-B306-00C559DF7FA4}" srcOrd="7" destOrd="0" presId="urn:microsoft.com/office/officeart/2005/8/layout/vList2"/>
    <dgm:cxn modelId="{627CA175-8D1C-436A-B810-88772A7DAF58}" type="presParOf" srcId="{0959C35A-EDA7-4DC5-B1E1-432AC1DA314A}" destId="{BE2BBF85-32D2-4718-8429-8423095A1BBA}"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3B1759F-9176-4627-966F-B9ABEE0E07AC}"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CA"/>
        </a:p>
      </dgm:t>
    </dgm:pt>
    <dgm:pt modelId="{71E3ED2A-C9BA-4DF1-BD7C-28206B5C9B4C}">
      <dgm:prSet custT="1"/>
      <dgm:spPr>
        <a:solidFill>
          <a:srgbClr val="0070C0"/>
        </a:solidFill>
      </dgm:spPr>
      <dgm:t>
        <a:bodyPr/>
        <a:lstStyle/>
        <a:p>
          <a:pPr algn="ctr"/>
          <a:r>
            <a:rPr lang="en-CA" sz="1600" dirty="0"/>
            <a:t>Caveats </a:t>
          </a:r>
          <a:r>
            <a:rPr lang="en-CA" sz="1800" dirty="0"/>
            <a:t>of</a:t>
          </a:r>
          <a:r>
            <a:rPr lang="en-CA" sz="1600" dirty="0"/>
            <a:t> manually  setting MAXDOP</a:t>
          </a:r>
        </a:p>
      </dgm:t>
    </dgm:pt>
    <dgm:pt modelId="{5C34FD83-D8D3-434E-B36B-C460A86AECC4}" type="parTrans" cxnId="{CF8C62D5-E1E1-4DC4-8DE7-36BF4EE6E308}">
      <dgm:prSet/>
      <dgm:spPr/>
      <dgm:t>
        <a:bodyPr/>
        <a:lstStyle/>
        <a:p>
          <a:endParaRPr lang="en-CA"/>
        </a:p>
      </dgm:t>
    </dgm:pt>
    <dgm:pt modelId="{0074ADEF-6764-4CCD-B79D-2EE7D4F1972F}" type="sibTrans" cxnId="{CF8C62D5-E1E1-4DC4-8DE7-36BF4EE6E308}">
      <dgm:prSet/>
      <dgm:spPr/>
      <dgm:t>
        <a:bodyPr/>
        <a:lstStyle/>
        <a:p>
          <a:endParaRPr lang="en-CA"/>
        </a:p>
      </dgm:t>
    </dgm:pt>
    <dgm:pt modelId="{5AE96FCE-D1C8-4B41-9D76-C2279083E5EB}">
      <dgm:prSet custT="1"/>
      <dgm:spPr>
        <a:ln>
          <a:solidFill>
            <a:srgbClr val="0070C0"/>
          </a:solidFill>
        </a:ln>
      </dgm:spPr>
      <dgm:t>
        <a:bodyPr/>
        <a:lstStyle/>
        <a:p>
          <a:pPr algn="l"/>
          <a:r>
            <a:rPr lang="en-CA" sz="1200" b="0" dirty="0"/>
            <a:t>Set it too high, you can run into CPU issues (e.g., Thread starvation)</a:t>
          </a:r>
        </a:p>
      </dgm:t>
    </dgm:pt>
    <dgm:pt modelId="{820C726D-50BE-4A9A-9E7A-E30425A64E4F}" type="parTrans" cxnId="{C1CCE2C2-B5DC-495B-8EF6-59E3A1995E93}">
      <dgm:prSet/>
      <dgm:spPr>
        <a:ln>
          <a:solidFill>
            <a:srgbClr val="0070C0"/>
          </a:solidFill>
        </a:ln>
      </dgm:spPr>
      <dgm:t>
        <a:bodyPr/>
        <a:lstStyle/>
        <a:p>
          <a:endParaRPr lang="en-CA"/>
        </a:p>
      </dgm:t>
    </dgm:pt>
    <dgm:pt modelId="{8AC944B4-C81A-4AC3-8C3E-C3E2F51020CF}" type="sibTrans" cxnId="{C1CCE2C2-B5DC-495B-8EF6-59E3A1995E93}">
      <dgm:prSet/>
      <dgm:spPr/>
      <dgm:t>
        <a:bodyPr/>
        <a:lstStyle/>
        <a:p>
          <a:endParaRPr lang="en-CA"/>
        </a:p>
      </dgm:t>
    </dgm:pt>
    <dgm:pt modelId="{1B820A00-E365-46CF-A25C-C9778F865326}">
      <dgm:prSet custT="1"/>
      <dgm:spPr>
        <a:ln>
          <a:solidFill>
            <a:srgbClr val="0070C0"/>
          </a:solidFill>
        </a:ln>
      </dgm:spPr>
      <dgm:t>
        <a:bodyPr/>
        <a:lstStyle/>
        <a:p>
          <a:pPr algn="l"/>
          <a:r>
            <a:rPr lang="en-CA" sz="1200" b="0" dirty="0"/>
            <a:t>Set it too low, you can miss out on performance benefits of parallelism</a:t>
          </a:r>
        </a:p>
      </dgm:t>
    </dgm:pt>
    <dgm:pt modelId="{9C44E04C-F137-4255-8A86-BE4C4E4C8601}" type="parTrans" cxnId="{352F58CC-EE45-4AFD-AF73-04FE838E447D}">
      <dgm:prSet/>
      <dgm:spPr>
        <a:ln>
          <a:solidFill>
            <a:srgbClr val="0070C0"/>
          </a:solidFill>
        </a:ln>
      </dgm:spPr>
      <dgm:t>
        <a:bodyPr/>
        <a:lstStyle/>
        <a:p>
          <a:endParaRPr lang="en-CA"/>
        </a:p>
      </dgm:t>
    </dgm:pt>
    <dgm:pt modelId="{27B3854C-D588-4D70-9CED-1F6D4020F834}" type="sibTrans" cxnId="{352F58CC-EE45-4AFD-AF73-04FE838E447D}">
      <dgm:prSet/>
      <dgm:spPr/>
      <dgm:t>
        <a:bodyPr/>
        <a:lstStyle/>
        <a:p>
          <a:endParaRPr lang="en-CA"/>
        </a:p>
      </dgm:t>
    </dgm:pt>
    <dgm:pt modelId="{BCCA5984-C688-4909-AC81-1C25ECA57238}">
      <dgm:prSet custT="1"/>
      <dgm:spPr>
        <a:ln>
          <a:solidFill>
            <a:srgbClr val="0070C0"/>
          </a:solidFill>
        </a:ln>
      </dgm:spPr>
      <dgm:t>
        <a:bodyPr/>
        <a:lstStyle/>
        <a:p>
          <a:pPr algn="l"/>
          <a:r>
            <a:rPr lang="en-CA" sz="1200" b="0" dirty="0"/>
            <a:t>Reactive – would only be changed when there is a problem</a:t>
          </a:r>
        </a:p>
      </dgm:t>
    </dgm:pt>
    <dgm:pt modelId="{6B3ACFAC-C14F-4D8E-9E1E-02D5AC6736DD}" type="parTrans" cxnId="{9C1F0D40-6586-4F0A-9CDE-75DEEA09533C}">
      <dgm:prSet/>
      <dgm:spPr>
        <a:ln>
          <a:solidFill>
            <a:srgbClr val="0070C0"/>
          </a:solidFill>
        </a:ln>
      </dgm:spPr>
      <dgm:t>
        <a:bodyPr/>
        <a:lstStyle/>
        <a:p>
          <a:endParaRPr lang="en-CA"/>
        </a:p>
      </dgm:t>
    </dgm:pt>
    <dgm:pt modelId="{46D10010-1090-4E41-9F49-E80F748A250F}" type="sibTrans" cxnId="{9C1F0D40-6586-4F0A-9CDE-75DEEA09533C}">
      <dgm:prSet/>
      <dgm:spPr/>
      <dgm:t>
        <a:bodyPr/>
        <a:lstStyle/>
        <a:p>
          <a:endParaRPr lang="en-CA"/>
        </a:p>
      </dgm:t>
    </dgm:pt>
    <dgm:pt modelId="{189B950B-E321-4838-894F-2F4A8E0E28F9}">
      <dgm:prSet custT="1"/>
      <dgm:spPr>
        <a:ln>
          <a:solidFill>
            <a:srgbClr val="0070C0"/>
          </a:solidFill>
        </a:ln>
      </dgm:spPr>
      <dgm:t>
        <a:bodyPr/>
        <a:lstStyle/>
        <a:p>
          <a:pPr algn="l"/>
          <a:r>
            <a:rPr lang="en-CA" sz="1200" b="0" dirty="0"/>
            <a:t>Determining optimal DOP for each query in the workload can be time-consuming and arduous; requires code-change</a:t>
          </a:r>
        </a:p>
      </dgm:t>
    </dgm:pt>
    <dgm:pt modelId="{973ED20A-C916-4D41-9FF4-512F32549D3C}" type="parTrans" cxnId="{24941D79-0F65-492A-A8D0-00F410B7B07C}">
      <dgm:prSet/>
      <dgm:spPr>
        <a:ln>
          <a:solidFill>
            <a:srgbClr val="0070C0"/>
          </a:solidFill>
        </a:ln>
      </dgm:spPr>
      <dgm:t>
        <a:bodyPr/>
        <a:lstStyle/>
        <a:p>
          <a:endParaRPr lang="en-CA"/>
        </a:p>
      </dgm:t>
    </dgm:pt>
    <dgm:pt modelId="{516073DA-1DAD-4CD7-B9DD-EF94B99D4718}" type="sibTrans" cxnId="{24941D79-0F65-492A-A8D0-00F410B7B07C}">
      <dgm:prSet/>
      <dgm:spPr/>
      <dgm:t>
        <a:bodyPr/>
        <a:lstStyle/>
        <a:p>
          <a:endParaRPr lang="en-CA"/>
        </a:p>
      </dgm:t>
    </dgm:pt>
    <dgm:pt modelId="{7BE2783B-B1DF-43E3-A140-9CED192FEEF3}" type="pres">
      <dgm:prSet presAssocID="{A3B1759F-9176-4627-966F-B9ABEE0E07AC}" presName="diagram" presStyleCnt="0">
        <dgm:presLayoutVars>
          <dgm:chPref val="1"/>
          <dgm:dir/>
          <dgm:animOne val="branch"/>
          <dgm:animLvl val="lvl"/>
          <dgm:resizeHandles/>
        </dgm:presLayoutVars>
      </dgm:prSet>
      <dgm:spPr/>
    </dgm:pt>
    <dgm:pt modelId="{5FA37900-B828-4D47-A647-C2604EDA3AF4}" type="pres">
      <dgm:prSet presAssocID="{71E3ED2A-C9BA-4DF1-BD7C-28206B5C9B4C}" presName="root" presStyleCnt="0"/>
      <dgm:spPr/>
    </dgm:pt>
    <dgm:pt modelId="{5A7B3769-F42D-461C-83D3-E2C697E08355}" type="pres">
      <dgm:prSet presAssocID="{71E3ED2A-C9BA-4DF1-BD7C-28206B5C9B4C}" presName="rootComposite" presStyleCnt="0"/>
      <dgm:spPr/>
    </dgm:pt>
    <dgm:pt modelId="{4857B9D9-1501-4633-9C35-DF1ADB589A97}" type="pres">
      <dgm:prSet presAssocID="{71E3ED2A-C9BA-4DF1-BD7C-28206B5C9B4C}" presName="rootText" presStyleLbl="node1" presStyleIdx="0" presStyleCnt="1" custScaleX="254232" custLinFactNeighborY="2500"/>
      <dgm:spPr/>
    </dgm:pt>
    <dgm:pt modelId="{9B25BD7A-C855-4A3E-BC10-49BB6A3EEEFC}" type="pres">
      <dgm:prSet presAssocID="{71E3ED2A-C9BA-4DF1-BD7C-28206B5C9B4C}" presName="rootConnector" presStyleLbl="node1" presStyleIdx="0" presStyleCnt="1"/>
      <dgm:spPr/>
    </dgm:pt>
    <dgm:pt modelId="{3BA3004C-2EF4-4C96-99EE-8758DEE99105}" type="pres">
      <dgm:prSet presAssocID="{71E3ED2A-C9BA-4DF1-BD7C-28206B5C9B4C}" presName="childShape" presStyleCnt="0"/>
      <dgm:spPr/>
    </dgm:pt>
    <dgm:pt modelId="{807D7F71-6FA9-4191-B19C-D095DD22834E}" type="pres">
      <dgm:prSet presAssocID="{820C726D-50BE-4A9A-9E7A-E30425A64E4F}" presName="Name13" presStyleLbl="parChTrans1D2" presStyleIdx="0" presStyleCnt="4"/>
      <dgm:spPr/>
    </dgm:pt>
    <dgm:pt modelId="{E08068A6-3346-4A02-A5EB-9A030BF4AFE4}" type="pres">
      <dgm:prSet presAssocID="{5AE96FCE-D1C8-4B41-9D76-C2279083E5EB}" presName="childText" presStyleLbl="bgAcc1" presStyleIdx="0" presStyleCnt="4" custScaleX="243805">
        <dgm:presLayoutVars>
          <dgm:bulletEnabled val="1"/>
        </dgm:presLayoutVars>
      </dgm:prSet>
      <dgm:spPr/>
    </dgm:pt>
    <dgm:pt modelId="{1A8C9C1A-D82F-4C3C-82AA-28A35E346404}" type="pres">
      <dgm:prSet presAssocID="{9C44E04C-F137-4255-8A86-BE4C4E4C8601}" presName="Name13" presStyleLbl="parChTrans1D2" presStyleIdx="1" presStyleCnt="4"/>
      <dgm:spPr/>
    </dgm:pt>
    <dgm:pt modelId="{AC3C8A14-1A26-404B-8C6B-433983E47BAA}" type="pres">
      <dgm:prSet presAssocID="{1B820A00-E365-46CF-A25C-C9778F865326}" presName="childText" presStyleLbl="bgAcc1" presStyleIdx="1" presStyleCnt="4" custScaleX="243806">
        <dgm:presLayoutVars>
          <dgm:bulletEnabled val="1"/>
        </dgm:presLayoutVars>
      </dgm:prSet>
      <dgm:spPr/>
    </dgm:pt>
    <dgm:pt modelId="{7F44C466-02AA-4139-B733-9EC91F9C3104}" type="pres">
      <dgm:prSet presAssocID="{6B3ACFAC-C14F-4D8E-9E1E-02D5AC6736DD}" presName="Name13" presStyleLbl="parChTrans1D2" presStyleIdx="2" presStyleCnt="4"/>
      <dgm:spPr/>
    </dgm:pt>
    <dgm:pt modelId="{42125C07-2499-45A4-9E86-62B5885ABD52}" type="pres">
      <dgm:prSet presAssocID="{BCCA5984-C688-4909-AC81-1C25ECA57238}" presName="childText" presStyleLbl="bgAcc1" presStyleIdx="2" presStyleCnt="4" custScaleX="245480">
        <dgm:presLayoutVars>
          <dgm:bulletEnabled val="1"/>
        </dgm:presLayoutVars>
      </dgm:prSet>
      <dgm:spPr/>
    </dgm:pt>
    <dgm:pt modelId="{E6F16616-BD05-4F41-8811-84EED207C63C}" type="pres">
      <dgm:prSet presAssocID="{973ED20A-C916-4D41-9FF4-512F32549D3C}" presName="Name13" presStyleLbl="parChTrans1D2" presStyleIdx="3" presStyleCnt="4"/>
      <dgm:spPr/>
    </dgm:pt>
    <dgm:pt modelId="{C9C639ED-C577-410F-B9E4-654A7350B0BF}" type="pres">
      <dgm:prSet presAssocID="{189B950B-E321-4838-894F-2F4A8E0E28F9}" presName="childText" presStyleLbl="bgAcc1" presStyleIdx="3" presStyleCnt="4" custScaleX="245480" custScaleY="132785">
        <dgm:presLayoutVars>
          <dgm:bulletEnabled val="1"/>
        </dgm:presLayoutVars>
      </dgm:prSet>
      <dgm:spPr/>
    </dgm:pt>
  </dgm:ptLst>
  <dgm:cxnLst>
    <dgm:cxn modelId="{7303ED00-1065-40A5-9F6C-CA2FB47A70D9}" type="presOf" srcId="{1B820A00-E365-46CF-A25C-C9778F865326}" destId="{AC3C8A14-1A26-404B-8C6B-433983E47BAA}" srcOrd="0" destOrd="0" presId="urn:microsoft.com/office/officeart/2005/8/layout/hierarchy3"/>
    <dgm:cxn modelId="{AE552723-08B1-4436-9E34-ECDB205CAFB2}" type="presOf" srcId="{6B3ACFAC-C14F-4D8E-9E1E-02D5AC6736DD}" destId="{7F44C466-02AA-4139-B733-9EC91F9C3104}" srcOrd="0" destOrd="0" presId="urn:microsoft.com/office/officeart/2005/8/layout/hierarchy3"/>
    <dgm:cxn modelId="{9DEBF729-A22D-4C46-B9C5-569845EAAC19}" type="presOf" srcId="{A3B1759F-9176-4627-966F-B9ABEE0E07AC}" destId="{7BE2783B-B1DF-43E3-A140-9CED192FEEF3}" srcOrd="0" destOrd="0" presId="urn:microsoft.com/office/officeart/2005/8/layout/hierarchy3"/>
    <dgm:cxn modelId="{2197E933-4CD0-47AB-9CCB-799E0AA27264}" type="presOf" srcId="{71E3ED2A-C9BA-4DF1-BD7C-28206B5C9B4C}" destId="{4857B9D9-1501-4633-9C35-DF1ADB589A97}" srcOrd="0" destOrd="0" presId="urn:microsoft.com/office/officeart/2005/8/layout/hierarchy3"/>
    <dgm:cxn modelId="{9C1F0D40-6586-4F0A-9CDE-75DEEA09533C}" srcId="{71E3ED2A-C9BA-4DF1-BD7C-28206B5C9B4C}" destId="{BCCA5984-C688-4909-AC81-1C25ECA57238}" srcOrd="2" destOrd="0" parTransId="{6B3ACFAC-C14F-4D8E-9E1E-02D5AC6736DD}" sibTransId="{46D10010-1090-4E41-9F49-E80F748A250F}"/>
    <dgm:cxn modelId="{904E9D41-DD6F-4C28-A213-E165C2D27870}" type="presOf" srcId="{5AE96FCE-D1C8-4B41-9D76-C2279083E5EB}" destId="{E08068A6-3346-4A02-A5EB-9A030BF4AFE4}" srcOrd="0" destOrd="0" presId="urn:microsoft.com/office/officeart/2005/8/layout/hierarchy3"/>
    <dgm:cxn modelId="{85F6C964-49B7-4AA1-8F10-D044495D8764}" type="presOf" srcId="{189B950B-E321-4838-894F-2F4A8E0E28F9}" destId="{C9C639ED-C577-410F-B9E4-654A7350B0BF}" srcOrd="0" destOrd="0" presId="urn:microsoft.com/office/officeart/2005/8/layout/hierarchy3"/>
    <dgm:cxn modelId="{8FDC6A47-C6EC-44B9-9D4D-4C2D5B5E8836}" type="presOf" srcId="{71E3ED2A-C9BA-4DF1-BD7C-28206B5C9B4C}" destId="{9B25BD7A-C855-4A3E-BC10-49BB6A3EEEFC}" srcOrd="1" destOrd="0" presId="urn:microsoft.com/office/officeart/2005/8/layout/hierarchy3"/>
    <dgm:cxn modelId="{475C404D-611B-44BB-A26B-63FF2CD34AA3}" type="presOf" srcId="{BCCA5984-C688-4909-AC81-1C25ECA57238}" destId="{42125C07-2499-45A4-9E86-62B5885ABD52}" srcOrd="0" destOrd="0" presId="urn:microsoft.com/office/officeart/2005/8/layout/hierarchy3"/>
    <dgm:cxn modelId="{24941D79-0F65-492A-A8D0-00F410B7B07C}" srcId="{71E3ED2A-C9BA-4DF1-BD7C-28206B5C9B4C}" destId="{189B950B-E321-4838-894F-2F4A8E0E28F9}" srcOrd="3" destOrd="0" parTransId="{973ED20A-C916-4D41-9FF4-512F32549D3C}" sibTransId="{516073DA-1DAD-4CD7-B9DD-EF94B99D4718}"/>
    <dgm:cxn modelId="{C1CCE2C2-B5DC-495B-8EF6-59E3A1995E93}" srcId="{71E3ED2A-C9BA-4DF1-BD7C-28206B5C9B4C}" destId="{5AE96FCE-D1C8-4B41-9D76-C2279083E5EB}" srcOrd="0" destOrd="0" parTransId="{820C726D-50BE-4A9A-9E7A-E30425A64E4F}" sibTransId="{8AC944B4-C81A-4AC3-8C3E-C3E2F51020CF}"/>
    <dgm:cxn modelId="{D8A878CA-36B4-4545-A8B7-7E430EA57476}" type="presOf" srcId="{9C44E04C-F137-4255-8A86-BE4C4E4C8601}" destId="{1A8C9C1A-D82F-4C3C-82AA-28A35E346404}" srcOrd="0" destOrd="0" presId="urn:microsoft.com/office/officeart/2005/8/layout/hierarchy3"/>
    <dgm:cxn modelId="{352F58CC-EE45-4AFD-AF73-04FE838E447D}" srcId="{71E3ED2A-C9BA-4DF1-BD7C-28206B5C9B4C}" destId="{1B820A00-E365-46CF-A25C-C9778F865326}" srcOrd="1" destOrd="0" parTransId="{9C44E04C-F137-4255-8A86-BE4C4E4C8601}" sibTransId="{27B3854C-D588-4D70-9CED-1F6D4020F834}"/>
    <dgm:cxn modelId="{CF8C62D5-E1E1-4DC4-8DE7-36BF4EE6E308}" srcId="{A3B1759F-9176-4627-966F-B9ABEE0E07AC}" destId="{71E3ED2A-C9BA-4DF1-BD7C-28206B5C9B4C}" srcOrd="0" destOrd="0" parTransId="{5C34FD83-D8D3-434E-B36B-C460A86AECC4}" sibTransId="{0074ADEF-6764-4CCD-B79D-2EE7D4F1972F}"/>
    <dgm:cxn modelId="{8F0E5CEF-C6FC-4D88-B07A-CE898CBEFC32}" type="presOf" srcId="{973ED20A-C916-4D41-9FF4-512F32549D3C}" destId="{E6F16616-BD05-4F41-8811-84EED207C63C}" srcOrd="0" destOrd="0" presId="urn:microsoft.com/office/officeart/2005/8/layout/hierarchy3"/>
    <dgm:cxn modelId="{79E9F8F6-86C6-4AC1-88D7-33254C219138}" type="presOf" srcId="{820C726D-50BE-4A9A-9E7A-E30425A64E4F}" destId="{807D7F71-6FA9-4191-B19C-D095DD22834E}" srcOrd="0" destOrd="0" presId="urn:microsoft.com/office/officeart/2005/8/layout/hierarchy3"/>
    <dgm:cxn modelId="{EDA2B9F9-AFC1-4535-B396-B610CB338948}" type="presParOf" srcId="{7BE2783B-B1DF-43E3-A140-9CED192FEEF3}" destId="{5FA37900-B828-4D47-A647-C2604EDA3AF4}" srcOrd="0" destOrd="0" presId="urn:microsoft.com/office/officeart/2005/8/layout/hierarchy3"/>
    <dgm:cxn modelId="{1D6610A7-1654-4AC3-90B6-D134A9BA588B}" type="presParOf" srcId="{5FA37900-B828-4D47-A647-C2604EDA3AF4}" destId="{5A7B3769-F42D-461C-83D3-E2C697E08355}" srcOrd="0" destOrd="0" presId="urn:microsoft.com/office/officeart/2005/8/layout/hierarchy3"/>
    <dgm:cxn modelId="{A2A7E596-7777-49E7-861D-D6052FA43CE2}" type="presParOf" srcId="{5A7B3769-F42D-461C-83D3-E2C697E08355}" destId="{4857B9D9-1501-4633-9C35-DF1ADB589A97}" srcOrd="0" destOrd="0" presId="urn:microsoft.com/office/officeart/2005/8/layout/hierarchy3"/>
    <dgm:cxn modelId="{82D8B730-06E3-44AD-821F-4D33554F3428}" type="presParOf" srcId="{5A7B3769-F42D-461C-83D3-E2C697E08355}" destId="{9B25BD7A-C855-4A3E-BC10-49BB6A3EEEFC}" srcOrd="1" destOrd="0" presId="urn:microsoft.com/office/officeart/2005/8/layout/hierarchy3"/>
    <dgm:cxn modelId="{D0C29F1F-18F4-403C-B387-D85A012FD58A}" type="presParOf" srcId="{5FA37900-B828-4D47-A647-C2604EDA3AF4}" destId="{3BA3004C-2EF4-4C96-99EE-8758DEE99105}" srcOrd="1" destOrd="0" presId="urn:microsoft.com/office/officeart/2005/8/layout/hierarchy3"/>
    <dgm:cxn modelId="{32F910F2-19E9-4B9F-98B5-718812E831E5}" type="presParOf" srcId="{3BA3004C-2EF4-4C96-99EE-8758DEE99105}" destId="{807D7F71-6FA9-4191-B19C-D095DD22834E}" srcOrd="0" destOrd="0" presId="urn:microsoft.com/office/officeart/2005/8/layout/hierarchy3"/>
    <dgm:cxn modelId="{D558B23F-FCCD-42F7-8A7A-1E568B8DC4E1}" type="presParOf" srcId="{3BA3004C-2EF4-4C96-99EE-8758DEE99105}" destId="{E08068A6-3346-4A02-A5EB-9A030BF4AFE4}" srcOrd="1" destOrd="0" presId="urn:microsoft.com/office/officeart/2005/8/layout/hierarchy3"/>
    <dgm:cxn modelId="{01E105D0-2AF0-48D7-A409-19BAB67E8418}" type="presParOf" srcId="{3BA3004C-2EF4-4C96-99EE-8758DEE99105}" destId="{1A8C9C1A-D82F-4C3C-82AA-28A35E346404}" srcOrd="2" destOrd="0" presId="urn:microsoft.com/office/officeart/2005/8/layout/hierarchy3"/>
    <dgm:cxn modelId="{F8EE4EB3-840A-44E6-B79D-8CE227086A3D}" type="presParOf" srcId="{3BA3004C-2EF4-4C96-99EE-8758DEE99105}" destId="{AC3C8A14-1A26-404B-8C6B-433983E47BAA}" srcOrd="3" destOrd="0" presId="urn:microsoft.com/office/officeart/2005/8/layout/hierarchy3"/>
    <dgm:cxn modelId="{8D256BBC-2C30-4A8A-8F1A-892CD53F5725}" type="presParOf" srcId="{3BA3004C-2EF4-4C96-99EE-8758DEE99105}" destId="{7F44C466-02AA-4139-B733-9EC91F9C3104}" srcOrd="4" destOrd="0" presId="urn:microsoft.com/office/officeart/2005/8/layout/hierarchy3"/>
    <dgm:cxn modelId="{6EA91DA3-D4A8-43FD-B12B-6A5CBECB79F9}" type="presParOf" srcId="{3BA3004C-2EF4-4C96-99EE-8758DEE99105}" destId="{42125C07-2499-45A4-9E86-62B5885ABD52}" srcOrd="5" destOrd="0" presId="urn:microsoft.com/office/officeart/2005/8/layout/hierarchy3"/>
    <dgm:cxn modelId="{F2761790-A4B2-4863-AA78-7601EE612E17}" type="presParOf" srcId="{3BA3004C-2EF4-4C96-99EE-8758DEE99105}" destId="{E6F16616-BD05-4F41-8811-84EED207C63C}" srcOrd="6" destOrd="0" presId="urn:microsoft.com/office/officeart/2005/8/layout/hierarchy3"/>
    <dgm:cxn modelId="{24837822-9966-47D9-9DAE-C0FD35325AFF}" type="presParOf" srcId="{3BA3004C-2EF4-4C96-99EE-8758DEE99105}" destId="{C9C639ED-C577-410F-B9E4-654A7350B0BF}" srcOrd="7"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F5615C8-3F34-47FF-90A8-EEF7BCC6763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1BA3F8F-0A89-4087-B53F-0B82BAAB9451}">
      <dgm:prSet/>
      <dgm:spPr>
        <a:solidFill>
          <a:srgbClr val="0070C0"/>
        </a:solidFill>
      </dgm:spPr>
      <dgm:t>
        <a:bodyPr/>
        <a:lstStyle/>
        <a:p>
          <a:r>
            <a:rPr lang="en-CA" dirty="0"/>
            <a:t>Query has been captured by Query Store</a:t>
          </a:r>
          <a:endParaRPr lang="en-US" dirty="0"/>
        </a:p>
      </dgm:t>
    </dgm:pt>
    <dgm:pt modelId="{F26FADE4-24D8-4AC4-8CDD-02D60231E4F9}" type="parTrans" cxnId="{06B4D3CB-5900-4879-9D8D-2DD91C53C825}">
      <dgm:prSet/>
      <dgm:spPr/>
      <dgm:t>
        <a:bodyPr/>
        <a:lstStyle/>
        <a:p>
          <a:endParaRPr lang="en-US"/>
        </a:p>
      </dgm:t>
    </dgm:pt>
    <dgm:pt modelId="{32FB43B7-1077-4CF5-9FF4-1EF4ED6B7CD0}" type="sibTrans" cxnId="{06B4D3CB-5900-4879-9D8D-2DD91C53C825}">
      <dgm:prSet/>
      <dgm:spPr/>
      <dgm:t>
        <a:bodyPr/>
        <a:lstStyle/>
        <a:p>
          <a:endParaRPr lang="en-US"/>
        </a:p>
      </dgm:t>
    </dgm:pt>
    <dgm:pt modelId="{F7B24F26-3EC8-46E3-94D8-1759CA30C7C0}">
      <dgm:prSet/>
      <dgm:spPr>
        <a:solidFill>
          <a:srgbClr val="0070C0"/>
        </a:solidFill>
      </dgm:spPr>
      <dgm:t>
        <a:bodyPr/>
        <a:lstStyle/>
        <a:p>
          <a:r>
            <a:rPr lang="en-CA"/>
            <a:t>Must be a successful execution</a:t>
          </a:r>
          <a:endParaRPr lang="en-US"/>
        </a:p>
      </dgm:t>
    </dgm:pt>
    <dgm:pt modelId="{DEF9EFA3-F5CA-48EA-BC4B-54DA4C3950F3}" type="parTrans" cxnId="{26F7C819-0C67-4822-8584-3F3292E6D56D}">
      <dgm:prSet/>
      <dgm:spPr/>
      <dgm:t>
        <a:bodyPr/>
        <a:lstStyle/>
        <a:p>
          <a:endParaRPr lang="en-US"/>
        </a:p>
      </dgm:t>
    </dgm:pt>
    <dgm:pt modelId="{464ACC81-C230-4212-8394-F3894C692E69}" type="sibTrans" cxnId="{26F7C819-0C67-4822-8584-3F3292E6D56D}">
      <dgm:prSet/>
      <dgm:spPr/>
      <dgm:t>
        <a:bodyPr/>
        <a:lstStyle/>
        <a:p>
          <a:endParaRPr lang="en-US"/>
        </a:p>
      </dgm:t>
    </dgm:pt>
    <dgm:pt modelId="{CED8278B-B436-46B0-B842-92B76ECA1632}">
      <dgm:prSet/>
      <dgm:spPr>
        <a:solidFill>
          <a:srgbClr val="0070C0"/>
        </a:solidFill>
      </dgm:spPr>
      <dgm:t>
        <a:bodyPr/>
        <a:lstStyle/>
        <a:p>
          <a:r>
            <a:rPr lang="en-CA"/>
            <a:t>Not a system query</a:t>
          </a:r>
          <a:endParaRPr lang="en-US"/>
        </a:p>
      </dgm:t>
    </dgm:pt>
    <dgm:pt modelId="{803AE9D1-3E56-456D-94F8-C002DF14441B}" type="parTrans" cxnId="{255571A6-8705-4CA5-924C-66E625E16D52}">
      <dgm:prSet/>
      <dgm:spPr/>
      <dgm:t>
        <a:bodyPr/>
        <a:lstStyle/>
        <a:p>
          <a:endParaRPr lang="en-US"/>
        </a:p>
      </dgm:t>
    </dgm:pt>
    <dgm:pt modelId="{B1A7732F-3A42-4088-84AF-AEBD8190B2C2}" type="sibTrans" cxnId="{255571A6-8705-4CA5-924C-66E625E16D52}">
      <dgm:prSet/>
      <dgm:spPr/>
      <dgm:t>
        <a:bodyPr/>
        <a:lstStyle/>
        <a:p>
          <a:endParaRPr lang="en-US"/>
        </a:p>
      </dgm:t>
    </dgm:pt>
    <dgm:pt modelId="{FDC610A1-E4DD-422A-90FB-F4EA5B624F69}">
      <dgm:prSet/>
      <dgm:spPr>
        <a:solidFill>
          <a:srgbClr val="0070C0"/>
        </a:solidFill>
      </dgm:spPr>
      <dgm:t>
        <a:bodyPr/>
        <a:lstStyle/>
        <a:p>
          <a:r>
            <a:rPr lang="en-CA"/>
            <a:t>Only SELECT statements</a:t>
          </a:r>
          <a:endParaRPr lang="en-US"/>
        </a:p>
      </dgm:t>
    </dgm:pt>
    <dgm:pt modelId="{2F2A6E55-73E9-4CAE-B5EA-4D366A64D4FD}" type="parTrans" cxnId="{480471DD-94E5-4424-81B3-84B00548A24B}">
      <dgm:prSet/>
      <dgm:spPr/>
      <dgm:t>
        <a:bodyPr/>
        <a:lstStyle/>
        <a:p>
          <a:endParaRPr lang="en-US"/>
        </a:p>
      </dgm:t>
    </dgm:pt>
    <dgm:pt modelId="{9524E047-8288-45EC-BBA6-4F0E42BD64AA}" type="sibTrans" cxnId="{480471DD-94E5-4424-81B3-84B00548A24B}">
      <dgm:prSet/>
      <dgm:spPr/>
      <dgm:t>
        <a:bodyPr/>
        <a:lstStyle/>
        <a:p>
          <a:endParaRPr lang="en-US"/>
        </a:p>
      </dgm:t>
    </dgm:pt>
    <dgm:pt modelId="{3FF56F31-6245-48F5-8ACA-E8B5CC270CD4}">
      <dgm:prSet/>
      <dgm:spPr>
        <a:solidFill>
          <a:srgbClr val="0070C0"/>
        </a:solidFill>
      </dgm:spPr>
      <dgm:t>
        <a:bodyPr/>
        <a:lstStyle/>
        <a:p>
          <a:r>
            <a:rPr lang="en-CA" dirty="0"/>
            <a:t>Doesn’t have a recompile or </a:t>
          </a:r>
          <a:r>
            <a:rPr lang="en-CA" dirty="0" err="1"/>
            <a:t>disable_dop_feedback</a:t>
          </a:r>
          <a:r>
            <a:rPr lang="en-CA" dirty="0"/>
            <a:t> hint</a:t>
          </a:r>
          <a:endParaRPr lang="en-US" dirty="0"/>
        </a:p>
      </dgm:t>
    </dgm:pt>
    <dgm:pt modelId="{7891DC5E-D39B-4CAA-B4E4-27909C4DDBBA}" type="parTrans" cxnId="{56E69874-B37E-445F-832C-297E1B165F73}">
      <dgm:prSet/>
      <dgm:spPr/>
      <dgm:t>
        <a:bodyPr/>
        <a:lstStyle/>
        <a:p>
          <a:endParaRPr lang="en-US"/>
        </a:p>
      </dgm:t>
    </dgm:pt>
    <dgm:pt modelId="{DD64A857-A37F-473E-874B-134182E903A0}" type="sibTrans" cxnId="{56E69874-B37E-445F-832C-297E1B165F73}">
      <dgm:prSet/>
      <dgm:spPr/>
      <dgm:t>
        <a:bodyPr/>
        <a:lstStyle/>
        <a:p>
          <a:endParaRPr lang="en-US"/>
        </a:p>
      </dgm:t>
    </dgm:pt>
    <dgm:pt modelId="{0B1F3203-931D-4AEA-86DB-EB3ACB819BA4}">
      <dgm:prSet/>
      <dgm:spPr>
        <a:solidFill>
          <a:srgbClr val="0070C0"/>
        </a:solidFill>
      </dgm:spPr>
      <dgm:t>
        <a:bodyPr/>
        <a:lstStyle/>
        <a:p>
          <a:r>
            <a:rPr lang="en-CA"/>
            <a:t>Query DOP &gt; 2 and &lt;= 128</a:t>
          </a:r>
          <a:endParaRPr lang="en-US"/>
        </a:p>
      </dgm:t>
    </dgm:pt>
    <dgm:pt modelId="{7CC4DD07-DA4E-4C75-A3CC-134889A153B2}" type="parTrans" cxnId="{F89436C2-175F-4C6F-949A-F8A9AC18A730}">
      <dgm:prSet/>
      <dgm:spPr/>
      <dgm:t>
        <a:bodyPr/>
        <a:lstStyle/>
        <a:p>
          <a:endParaRPr lang="en-US"/>
        </a:p>
      </dgm:t>
    </dgm:pt>
    <dgm:pt modelId="{D5B29E4E-018A-4553-A84C-139A8C5F4C3C}" type="sibTrans" cxnId="{F89436C2-175F-4C6F-949A-F8A9AC18A730}">
      <dgm:prSet/>
      <dgm:spPr/>
      <dgm:t>
        <a:bodyPr/>
        <a:lstStyle/>
        <a:p>
          <a:endParaRPr lang="en-US"/>
        </a:p>
      </dgm:t>
    </dgm:pt>
    <dgm:pt modelId="{75058169-EB8E-4A8F-B30B-B66A1D05FFCE}">
      <dgm:prSet/>
      <dgm:spPr>
        <a:solidFill>
          <a:srgbClr val="0070C0"/>
        </a:solidFill>
      </dgm:spPr>
      <dgm:t>
        <a:bodyPr/>
        <a:lstStyle/>
        <a:p>
          <a:r>
            <a:rPr lang="en-CA"/>
            <a:t>“Adjusted” elapsed time &gt;= 10 secs.</a:t>
          </a:r>
          <a:endParaRPr lang="en-US"/>
        </a:p>
      </dgm:t>
    </dgm:pt>
    <dgm:pt modelId="{03A4B03B-2271-4E9A-8EF2-6AFD890FF490}" type="parTrans" cxnId="{09DB671A-31B3-4D4C-BA62-2D2506998854}">
      <dgm:prSet/>
      <dgm:spPr/>
      <dgm:t>
        <a:bodyPr/>
        <a:lstStyle/>
        <a:p>
          <a:endParaRPr lang="en-US"/>
        </a:p>
      </dgm:t>
    </dgm:pt>
    <dgm:pt modelId="{ECEEE999-E421-4804-ABA1-91D472D514FD}" type="sibTrans" cxnId="{09DB671A-31B3-4D4C-BA62-2D2506998854}">
      <dgm:prSet/>
      <dgm:spPr/>
      <dgm:t>
        <a:bodyPr/>
        <a:lstStyle/>
        <a:p>
          <a:endParaRPr lang="en-US"/>
        </a:p>
      </dgm:t>
    </dgm:pt>
    <dgm:pt modelId="{1E0E74A5-E762-4F4A-816E-78E4FE8898E7}">
      <dgm:prSet/>
      <dgm:spPr>
        <a:solidFill>
          <a:srgbClr val="0070C0"/>
        </a:solidFill>
      </dgm:spPr>
      <dgm:t>
        <a:bodyPr/>
        <a:lstStyle/>
        <a:p>
          <a:r>
            <a:rPr lang="en-CA"/>
            <a:t>Only “fresh” queries (i.e., compiled or recompiled)</a:t>
          </a:r>
          <a:endParaRPr lang="en-US"/>
        </a:p>
      </dgm:t>
    </dgm:pt>
    <dgm:pt modelId="{FD242D3A-4D3A-4C8D-9B0E-D02818417E88}" type="parTrans" cxnId="{06FA388F-EABD-4266-8B34-FB64F5EF44F5}">
      <dgm:prSet/>
      <dgm:spPr/>
      <dgm:t>
        <a:bodyPr/>
        <a:lstStyle/>
        <a:p>
          <a:endParaRPr lang="en-US"/>
        </a:p>
      </dgm:t>
    </dgm:pt>
    <dgm:pt modelId="{31312D66-0BC2-4DD0-B6EC-D0EB2FE6C6D7}" type="sibTrans" cxnId="{06FA388F-EABD-4266-8B34-FB64F5EF44F5}">
      <dgm:prSet/>
      <dgm:spPr/>
      <dgm:t>
        <a:bodyPr/>
        <a:lstStyle/>
        <a:p>
          <a:endParaRPr lang="en-US"/>
        </a:p>
      </dgm:t>
    </dgm:pt>
    <dgm:pt modelId="{FE7DA06D-B646-45F3-8532-50694784C7F1}" type="pres">
      <dgm:prSet presAssocID="{6F5615C8-3F34-47FF-90A8-EEF7BCC6763D}" presName="linear" presStyleCnt="0">
        <dgm:presLayoutVars>
          <dgm:animLvl val="lvl"/>
          <dgm:resizeHandles val="exact"/>
        </dgm:presLayoutVars>
      </dgm:prSet>
      <dgm:spPr/>
    </dgm:pt>
    <dgm:pt modelId="{03D8F651-5060-4144-B98F-05E65B57D514}" type="pres">
      <dgm:prSet presAssocID="{A1BA3F8F-0A89-4087-B53F-0B82BAAB9451}" presName="parentText" presStyleLbl="node1" presStyleIdx="0" presStyleCnt="8">
        <dgm:presLayoutVars>
          <dgm:chMax val="0"/>
          <dgm:bulletEnabled val="1"/>
        </dgm:presLayoutVars>
      </dgm:prSet>
      <dgm:spPr/>
    </dgm:pt>
    <dgm:pt modelId="{3721CC93-FF5B-460F-A0CA-4EFE68216DBA}" type="pres">
      <dgm:prSet presAssocID="{32FB43B7-1077-4CF5-9FF4-1EF4ED6B7CD0}" presName="spacer" presStyleCnt="0"/>
      <dgm:spPr/>
    </dgm:pt>
    <dgm:pt modelId="{B73DF1BB-43A5-41A8-966F-D54A8BF72FD0}" type="pres">
      <dgm:prSet presAssocID="{F7B24F26-3EC8-46E3-94D8-1759CA30C7C0}" presName="parentText" presStyleLbl="node1" presStyleIdx="1" presStyleCnt="8">
        <dgm:presLayoutVars>
          <dgm:chMax val="0"/>
          <dgm:bulletEnabled val="1"/>
        </dgm:presLayoutVars>
      </dgm:prSet>
      <dgm:spPr/>
    </dgm:pt>
    <dgm:pt modelId="{4F8C8A80-E59E-4491-96AE-A5DFB256DE47}" type="pres">
      <dgm:prSet presAssocID="{464ACC81-C230-4212-8394-F3894C692E69}" presName="spacer" presStyleCnt="0"/>
      <dgm:spPr/>
    </dgm:pt>
    <dgm:pt modelId="{75D66B14-30FE-46DB-85B1-69E9AE6446A4}" type="pres">
      <dgm:prSet presAssocID="{CED8278B-B436-46B0-B842-92B76ECA1632}" presName="parentText" presStyleLbl="node1" presStyleIdx="2" presStyleCnt="8">
        <dgm:presLayoutVars>
          <dgm:chMax val="0"/>
          <dgm:bulletEnabled val="1"/>
        </dgm:presLayoutVars>
      </dgm:prSet>
      <dgm:spPr/>
    </dgm:pt>
    <dgm:pt modelId="{5FC945C4-E339-4D91-9CB5-6875D34D6928}" type="pres">
      <dgm:prSet presAssocID="{B1A7732F-3A42-4088-84AF-AEBD8190B2C2}" presName="spacer" presStyleCnt="0"/>
      <dgm:spPr/>
    </dgm:pt>
    <dgm:pt modelId="{9D3363EC-0A1F-4B04-A75F-366C155C457C}" type="pres">
      <dgm:prSet presAssocID="{FDC610A1-E4DD-422A-90FB-F4EA5B624F69}" presName="parentText" presStyleLbl="node1" presStyleIdx="3" presStyleCnt="8">
        <dgm:presLayoutVars>
          <dgm:chMax val="0"/>
          <dgm:bulletEnabled val="1"/>
        </dgm:presLayoutVars>
      </dgm:prSet>
      <dgm:spPr/>
    </dgm:pt>
    <dgm:pt modelId="{E20AEC99-0BC4-4768-8D63-EBF728007945}" type="pres">
      <dgm:prSet presAssocID="{9524E047-8288-45EC-BBA6-4F0E42BD64AA}" presName="spacer" presStyleCnt="0"/>
      <dgm:spPr/>
    </dgm:pt>
    <dgm:pt modelId="{8F0A9860-A321-4527-9123-AFBBECFC640D}" type="pres">
      <dgm:prSet presAssocID="{3FF56F31-6245-48F5-8ACA-E8B5CC270CD4}" presName="parentText" presStyleLbl="node1" presStyleIdx="4" presStyleCnt="8">
        <dgm:presLayoutVars>
          <dgm:chMax val="0"/>
          <dgm:bulletEnabled val="1"/>
        </dgm:presLayoutVars>
      </dgm:prSet>
      <dgm:spPr/>
    </dgm:pt>
    <dgm:pt modelId="{55CDD3CD-282B-449F-BED7-E9A098837612}" type="pres">
      <dgm:prSet presAssocID="{DD64A857-A37F-473E-874B-134182E903A0}" presName="spacer" presStyleCnt="0"/>
      <dgm:spPr/>
    </dgm:pt>
    <dgm:pt modelId="{5E7AC221-938E-47A3-AC27-8984BDBCEFF4}" type="pres">
      <dgm:prSet presAssocID="{0B1F3203-931D-4AEA-86DB-EB3ACB819BA4}" presName="parentText" presStyleLbl="node1" presStyleIdx="5" presStyleCnt="8">
        <dgm:presLayoutVars>
          <dgm:chMax val="0"/>
          <dgm:bulletEnabled val="1"/>
        </dgm:presLayoutVars>
      </dgm:prSet>
      <dgm:spPr/>
    </dgm:pt>
    <dgm:pt modelId="{ED80AC14-F8AE-4B73-8448-34515A0B90AD}" type="pres">
      <dgm:prSet presAssocID="{D5B29E4E-018A-4553-A84C-139A8C5F4C3C}" presName="spacer" presStyleCnt="0"/>
      <dgm:spPr/>
    </dgm:pt>
    <dgm:pt modelId="{1F0253D8-FA75-465F-A20B-97BD7C27AEFD}" type="pres">
      <dgm:prSet presAssocID="{75058169-EB8E-4A8F-B30B-B66A1D05FFCE}" presName="parentText" presStyleLbl="node1" presStyleIdx="6" presStyleCnt="8">
        <dgm:presLayoutVars>
          <dgm:chMax val="0"/>
          <dgm:bulletEnabled val="1"/>
        </dgm:presLayoutVars>
      </dgm:prSet>
      <dgm:spPr/>
    </dgm:pt>
    <dgm:pt modelId="{1C91612F-C78F-4101-A8C4-0DB84AF7A83A}" type="pres">
      <dgm:prSet presAssocID="{ECEEE999-E421-4804-ABA1-91D472D514FD}" presName="spacer" presStyleCnt="0"/>
      <dgm:spPr/>
    </dgm:pt>
    <dgm:pt modelId="{B069CE02-4B1C-466E-8499-91689AA7EF65}" type="pres">
      <dgm:prSet presAssocID="{1E0E74A5-E762-4F4A-816E-78E4FE8898E7}" presName="parentText" presStyleLbl="node1" presStyleIdx="7" presStyleCnt="8">
        <dgm:presLayoutVars>
          <dgm:chMax val="0"/>
          <dgm:bulletEnabled val="1"/>
        </dgm:presLayoutVars>
      </dgm:prSet>
      <dgm:spPr/>
    </dgm:pt>
  </dgm:ptLst>
  <dgm:cxnLst>
    <dgm:cxn modelId="{06D17008-753B-49AE-816D-A130C3057554}" type="presOf" srcId="{CED8278B-B436-46B0-B842-92B76ECA1632}" destId="{75D66B14-30FE-46DB-85B1-69E9AE6446A4}" srcOrd="0" destOrd="0" presId="urn:microsoft.com/office/officeart/2005/8/layout/vList2"/>
    <dgm:cxn modelId="{26F7C819-0C67-4822-8584-3F3292E6D56D}" srcId="{6F5615C8-3F34-47FF-90A8-EEF7BCC6763D}" destId="{F7B24F26-3EC8-46E3-94D8-1759CA30C7C0}" srcOrd="1" destOrd="0" parTransId="{DEF9EFA3-F5CA-48EA-BC4B-54DA4C3950F3}" sibTransId="{464ACC81-C230-4212-8394-F3894C692E69}"/>
    <dgm:cxn modelId="{09DB671A-31B3-4D4C-BA62-2D2506998854}" srcId="{6F5615C8-3F34-47FF-90A8-EEF7BCC6763D}" destId="{75058169-EB8E-4A8F-B30B-B66A1D05FFCE}" srcOrd="6" destOrd="0" parTransId="{03A4B03B-2271-4E9A-8EF2-6AFD890FF490}" sibTransId="{ECEEE999-E421-4804-ABA1-91D472D514FD}"/>
    <dgm:cxn modelId="{435B2F35-BCD9-4663-BF31-4704536957C5}" type="presOf" srcId="{1E0E74A5-E762-4F4A-816E-78E4FE8898E7}" destId="{B069CE02-4B1C-466E-8499-91689AA7EF65}" srcOrd="0" destOrd="0" presId="urn:microsoft.com/office/officeart/2005/8/layout/vList2"/>
    <dgm:cxn modelId="{D00E393B-8DA2-4C63-940C-02D7E2A3667C}" type="presOf" srcId="{F7B24F26-3EC8-46E3-94D8-1759CA30C7C0}" destId="{B73DF1BB-43A5-41A8-966F-D54A8BF72FD0}" srcOrd="0" destOrd="0" presId="urn:microsoft.com/office/officeart/2005/8/layout/vList2"/>
    <dgm:cxn modelId="{BB175145-3B68-4631-8A5A-1F26B40DEBAA}" type="presOf" srcId="{3FF56F31-6245-48F5-8ACA-E8B5CC270CD4}" destId="{8F0A9860-A321-4527-9123-AFBBECFC640D}" srcOrd="0" destOrd="0" presId="urn:microsoft.com/office/officeart/2005/8/layout/vList2"/>
    <dgm:cxn modelId="{EF3B8A65-CCA6-41AC-922A-D1100E97B504}" type="presOf" srcId="{6F5615C8-3F34-47FF-90A8-EEF7BCC6763D}" destId="{FE7DA06D-B646-45F3-8532-50694784C7F1}" srcOrd="0" destOrd="0" presId="urn:microsoft.com/office/officeart/2005/8/layout/vList2"/>
    <dgm:cxn modelId="{8E9DBB66-7174-406E-BA4D-416C6D4AF7BC}" type="presOf" srcId="{0B1F3203-931D-4AEA-86DB-EB3ACB819BA4}" destId="{5E7AC221-938E-47A3-AC27-8984BDBCEFF4}" srcOrd="0" destOrd="0" presId="urn:microsoft.com/office/officeart/2005/8/layout/vList2"/>
    <dgm:cxn modelId="{56E69874-B37E-445F-832C-297E1B165F73}" srcId="{6F5615C8-3F34-47FF-90A8-EEF7BCC6763D}" destId="{3FF56F31-6245-48F5-8ACA-E8B5CC270CD4}" srcOrd="4" destOrd="0" parTransId="{7891DC5E-D39B-4CAA-B4E4-27909C4DDBBA}" sibTransId="{DD64A857-A37F-473E-874B-134182E903A0}"/>
    <dgm:cxn modelId="{06FA388F-EABD-4266-8B34-FB64F5EF44F5}" srcId="{6F5615C8-3F34-47FF-90A8-EEF7BCC6763D}" destId="{1E0E74A5-E762-4F4A-816E-78E4FE8898E7}" srcOrd="7" destOrd="0" parTransId="{FD242D3A-4D3A-4C8D-9B0E-D02818417E88}" sibTransId="{31312D66-0BC2-4DD0-B6EC-D0EB2FE6C6D7}"/>
    <dgm:cxn modelId="{255571A6-8705-4CA5-924C-66E625E16D52}" srcId="{6F5615C8-3F34-47FF-90A8-EEF7BCC6763D}" destId="{CED8278B-B436-46B0-B842-92B76ECA1632}" srcOrd="2" destOrd="0" parTransId="{803AE9D1-3E56-456D-94F8-C002DF14441B}" sibTransId="{B1A7732F-3A42-4088-84AF-AEBD8190B2C2}"/>
    <dgm:cxn modelId="{FA996EB6-B6A1-4D53-B8F9-2DE6B16C1AD3}" type="presOf" srcId="{75058169-EB8E-4A8F-B30B-B66A1D05FFCE}" destId="{1F0253D8-FA75-465F-A20B-97BD7C27AEFD}" srcOrd="0" destOrd="0" presId="urn:microsoft.com/office/officeart/2005/8/layout/vList2"/>
    <dgm:cxn modelId="{F89436C2-175F-4C6F-949A-F8A9AC18A730}" srcId="{6F5615C8-3F34-47FF-90A8-EEF7BCC6763D}" destId="{0B1F3203-931D-4AEA-86DB-EB3ACB819BA4}" srcOrd="5" destOrd="0" parTransId="{7CC4DD07-DA4E-4C75-A3CC-134889A153B2}" sibTransId="{D5B29E4E-018A-4553-A84C-139A8C5F4C3C}"/>
    <dgm:cxn modelId="{06B4D3CB-5900-4879-9D8D-2DD91C53C825}" srcId="{6F5615C8-3F34-47FF-90A8-EEF7BCC6763D}" destId="{A1BA3F8F-0A89-4087-B53F-0B82BAAB9451}" srcOrd="0" destOrd="0" parTransId="{F26FADE4-24D8-4AC4-8CDD-02D60231E4F9}" sibTransId="{32FB43B7-1077-4CF5-9FF4-1EF4ED6B7CD0}"/>
    <dgm:cxn modelId="{75AC93DB-4FA1-4F94-8DED-759B8BE8D0BE}" type="presOf" srcId="{FDC610A1-E4DD-422A-90FB-F4EA5B624F69}" destId="{9D3363EC-0A1F-4B04-A75F-366C155C457C}" srcOrd="0" destOrd="0" presId="urn:microsoft.com/office/officeart/2005/8/layout/vList2"/>
    <dgm:cxn modelId="{8C4949DC-C032-4317-8E03-A1FD7A80D1B9}" type="presOf" srcId="{A1BA3F8F-0A89-4087-B53F-0B82BAAB9451}" destId="{03D8F651-5060-4144-B98F-05E65B57D514}" srcOrd="0" destOrd="0" presId="urn:microsoft.com/office/officeart/2005/8/layout/vList2"/>
    <dgm:cxn modelId="{480471DD-94E5-4424-81B3-84B00548A24B}" srcId="{6F5615C8-3F34-47FF-90A8-EEF7BCC6763D}" destId="{FDC610A1-E4DD-422A-90FB-F4EA5B624F69}" srcOrd="3" destOrd="0" parTransId="{2F2A6E55-73E9-4CAE-B5EA-4D366A64D4FD}" sibTransId="{9524E047-8288-45EC-BBA6-4F0E42BD64AA}"/>
    <dgm:cxn modelId="{F50BE06F-56F4-4486-A402-D45E69ADCDCE}" type="presParOf" srcId="{FE7DA06D-B646-45F3-8532-50694784C7F1}" destId="{03D8F651-5060-4144-B98F-05E65B57D514}" srcOrd="0" destOrd="0" presId="urn:microsoft.com/office/officeart/2005/8/layout/vList2"/>
    <dgm:cxn modelId="{A6B7FFD4-4355-444B-9FB5-ABEA0A4008E3}" type="presParOf" srcId="{FE7DA06D-B646-45F3-8532-50694784C7F1}" destId="{3721CC93-FF5B-460F-A0CA-4EFE68216DBA}" srcOrd="1" destOrd="0" presId="urn:microsoft.com/office/officeart/2005/8/layout/vList2"/>
    <dgm:cxn modelId="{970A1443-106F-43B8-ABED-E6EC218C9CA8}" type="presParOf" srcId="{FE7DA06D-B646-45F3-8532-50694784C7F1}" destId="{B73DF1BB-43A5-41A8-966F-D54A8BF72FD0}" srcOrd="2" destOrd="0" presId="urn:microsoft.com/office/officeart/2005/8/layout/vList2"/>
    <dgm:cxn modelId="{BFD484E5-6638-4F4D-8FEC-BD62CB14A851}" type="presParOf" srcId="{FE7DA06D-B646-45F3-8532-50694784C7F1}" destId="{4F8C8A80-E59E-4491-96AE-A5DFB256DE47}" srcOrd="3" destOrd="0" presId="urn:microsoft.com/office/officeart/2005/8/layout/vList2"/>
    <dgm:cxn modelId="{C8440FD0-2067-4B9C-8A12-5FA3A71F1EF3}" type="presParOf" srcId="{FE7DA06D-B646-45F3-8532-50694784C7F1}" destId="{75D66B14-30FE-46DB-85B1-69E9AE6446A4}" srcOrd="4" destOrd="0" presId="urn:microsoft.com/office/officeart/2005/8/layout/vList2"/>
    <dgm:cxn modelId="{AD80417D-DD1C-497E-9A38-AAACFA348A2C}" type="presParOf" srcId="{FE7DA06D-B646-45F3-8532-50694784C7F1}" destId="{5FC945C4-E339-4D91-9CB5-6875D34D6928}" srcOrd="5" destOrd="0" presId="urn:microsoft.com/office/officeart/2005/8/layout/vList2"/>
    <dgm:cxn modelId="{E64A2C97-5180-4654-8B9A-7849FBCDD395}" type="presParOf" srcId="{FE7DA06D-B646-45F3-8532-50694784C7F1}" destId="{9D3363EC-0A1F-4B04-A75F-366C155C457C}" srcOrd="6" destOrd="0" presId="urn:microsoft.com/office/officeart/2005/8/layout/vList2"/>
    <dgm:cxn modelId="{3EF58613-00D7-4B2C-823A-02D3B91E0B62}" type="presParOf" srcId="{FE7DA06D-B646-45F3-8532-50694784C7F1}" destId="{E20AEC99-0BC4-4768-8D63-EBF728007945}" srcOrd="7" destOrd="0" presId="urn:microsoft.com/office/officeart/2005/8/layout/vList2"/>
    <dgm:cxn modelId="{D6672500-E57F-4889-85CB-432DBF2B7155}" type="presParOf" srcId="{FE7DA06D-B646-45F3-8532-50694784C7F1}" destId="{8F0A9860-A321-4527-9123-AFBBECFC640D}" srcOrd="8" destOrd="0" presId="urn:microsoft.com/office/officeart/2005/8/layout/vList2"/>
    <dgm:cxn modelId="{6BE0DE63-D1A9-4425-A447-746CA003CDD7}" type="presParOf" srcId="{FE7DA06D-B646-45F3-8532-50694784C7F1}" destId="{55CDD3CD-282B-449F-BED7-E9A098837612}" srcOrd="9" destOrd="0" presId="urn:microsoft.com/office/officeart/2005/8/layout/vList2"/>
    <dgm:cxn modelId="{CAAF6450-C90B-4603-85A2-4DED07666767}" type="presParOf" srcId="{FE7DA06D-B646-45F3-8532-50694784C7F1}" destId="{5E7AC221-938E-47A3-AC27-8984BDBCEFF4}" srcOrd="10" destOrd="0" presId="urn:microsoft.com/office/officeart/2005/8/layout/vList2"/>
    <dgm:cxn modelId="{17A87DBF-7B9F-4A91-825C-98D7D72562BB}" type="presParOf" srcId="{FE7DA06D-B646-45F3-8532-50694784C7F1}" destId="{ED80AC14-F8AE-4B73-8448-34515A0B90AD}" srcOrd="11" destOrd="0" presId="urn:microsoft.com/office/officeart/2005/8/layout/vList2"/>
    <dgm:cxn modelId="{2B0285A8-0A03-4865-8BE4-BCA167F9418B}" type="presParOf" srcId="{FE7DA06D-B646-45F3-8532-50694784C7F1}" destId="{1F0253D8-FA75-465F-A20B-97BD7C27AEFD}" srcOrd="12" destOrd="0" presId="urn:microsoft.com/office/officeart/2005/8/layout/vList2"/>
    <dgm:cxn modelId="{1BAC8B6F-FA11-415D-9866-1E61E94BDD51}" type="presParOf" srcId="{FE7DA06D-B646-45F3-8532-50694784C7F1}" destId="{1C91612F-C78F-4101-A8C4-0DB84AF7A83A}" srcOrd="13" destOrd="0" presId="urn:microsoft.com/office/officeart/2005/8/layout/vList2"/>
    <dgm:cxn modelId="{D5550CFD-3590-4206-B8BC-BE8AF6252019}" type="presParOf" srcId="{FE7DA06D-B646-45F3-8532-50694784C7F1}" destId="{B069CE02-4B1C-466E-8499-91689AA7EF65}" srcOrd="1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D01ADF-20ED-42CF-BF7B-06FD0BA6DAA1}">
      <dsp:nvSpPr>
        <dsp:cNvPr id="0" name=""/>
        <dsp:cNvSpPr/>
      </dsp:nvSpPr>
      <dsp:spPr>
        <a:xfrm>
          <a:off x="279400" y="406"/>
          <a:ext cx="2365374" cy="1419225"/>
        </a:xfrm>
        <a:prstGeom prst="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Instance-level Setting</a:t>
          </a:r>
        </a:p>
      </dsp:txBody>
      <dsp:txXfrm>
        <a:off x="279400" y="406"/>
        <a:ext cx="2365374" cy="1419225"/>
      </dsp:txXfrm>
    </dsp:sp>
    <dsp:sp modelId="{246A108E-222E-46ED-9CBA-C1D1AB8A8CD6}">
      <dsp:nvSpPr>
        <dsp:cNvPr id="0" name=""/>
        <dsp:cNvSpPr/>
      </dsp:nvSpPr>
      <dsp:spPr>
        <a:xfrm>
          <a:off x="2881312" y="406"/>
          <a:ext cx="2365374" cy="1419225"/>
        </a:xfrm>
        <a:prstGeom prst="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Threshold at which a parallel plan is considered</a:t>
          </a:r>
        </a:p>
      </dsp:txBody>
      <dsp:txXfrm>
        <a:off x="2881312" y="406"/>
        <a:ext cx="2365374" cy="1419225"/>
      </dsp:txXfrm>
    </dsp:sp>
    <dsp:sp modelId="{4E088183-E212-44EA-B883-C131AB78A524}">
      <dsp:nvSpPr>
        <dsp:cNvPr id="0" name=""/>
        <dsp:cNvSpPr/>
      </dsp:nvSpPr>
      <dsp:spPr>
        <a:xfrm>
          <a:off x="5483224" y="406"/>
          <a:ext cx="2365374" cy="1419225"/>
        </a:xfrm>
        <a:prstGeom prst="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Can be set from 0 to 32767</a:t>
          </a:r>
        </a:p>
      </dsp:txBody>
      <dsp:txXfrm>
        <a:off x="5483224" y="406"/>
        <a:ext cx="2365374" cy="1419225"/>
      </dsp:txXfrm>
    </dsp:sp>
    <dsp:sp modelId="{C9C9E5E8-2FE6-4CB4-9498-8EA4A40B05AD}">
      <dsp:nvSpPr>
        <dsp:cNvPr id="0" name=""/>
        <dsp:cNvSpPr/>
      </dsp:nvSpPr>
      <dsp:spPr>
        <a:xfrm>
          <a:off x="279400" y="1656169"/>
          <a:ext cx="2365374" cy="1419225"/>
        </a:xfrm>
        <a:prstGeom prst="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Default = 5</a:t>
          </a:r>
        </a:p>
      </dsp:txBody>
      <dsp:txXfrm>
        <a:off x="279400" y="1656169"/>
        <a:ext cx="2365374" cy="1419225"/>
      </dsp:txXfrm>
    </dsp:sp>
    <dsp:sp modelId="{A30DA555-2B35-43C1-AEAA-2AF5B92423FC}">
      <dsp:nvSpPr>
        <dsp:cNvPr id="0" name=""/>
        <dsp:cNvSpPr/>
      </dsp:nvSpPr>
      <dsp:spPr>
        <a:xfrm>
          <a:off x="2881312" y="1656169"/>
          <a:ext cx="2365374" cy="1419225"/>
        </a:xfrm>
        <a:prstGeom prst="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Abstracted unit of cost (not time!)</a:t>
          </a:r>
        </a:p>
      </dsp:txBody>
      <dsp:txXfrm>
        <a:off x="2881312" y="1656169"/>
        <a:ext cx="2365374" cy="1419225"/>
      </dsp:txXfrm>
    </dsp:sp>
    <dsp:sp modelId="{F87020B2-EED1-4C9F-9E36-5021B0E80383}">
      <dsp:nvSpPr>
        <dsp:cNvPr id="0" name=""/>
        <dsp:cNvSpPr/>
      </dsp:nvSpPr>
      <dsp:spPr>
        <a:xfrm>
          <a:off x="5483224" y="1656169"/>
          <a:ext cx="2365374" cy="1419225"/>
        </a:xfrm>
        <a:prstGeom prst="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Compared against estimated subtree cost of the entire </a:t>
          </a:r>
          <a:r>
            <a:rPr lang="en-CA" sz="1800" u="sng" kern="1200" dirty="0"/>
            <a:t>serial</a:t>
          </a:r>
          <a:r>
            <a:rPr lang="en-CA" sz="1800" kern="1200" dirty="0"/>
            <a:t> plan (not one operator)</a:t>
          </a:r>
        </a:p>
      </dsp:txBody>
      <dsp:txXfrm>
        <a:off x="5483224" y="1656169"/>
        <a:ext cx="2365374" cy="1419225"/>
      </dsp:txXfrm>
    </dsp:sp>
    <dsp:sp modelId="{4CE46323-A8A1-4570-926B-4DBD609DC95F}">
      <dsp:nvSpPr>
        <dsp:cNvPr id="0" name=""/>
        <dsp:cNvSpPr/>
      </dsp:nvSpPr>
      <dsp:spPr>
        <a:xfrm>
          <a:off x="1580356" y="3311932"/>
          <a:ext cx="2365374" cy="1419225"/>
        </a:xfrm>
        <a:prstGeom prst="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Lower value = induce parallelism; Higher value = inhibits parallelism</a:t>
          </a:r>
        </a:p>
      </dsp:txBody>
      <dsp:txXfrm>
        <a:off x="1580356" y="3311932"/>
        <a:ext cx="2365374" cy="1419225"/>
      </dsp:txXfrm>
    </dsp:sp>
    <dsp:sp modelId="{750336D2-D6D9-43EB-8399-A55D14B30247}">
      <dsp:nvSpPr>
        <dsp:cNvPr id="0" name=""/>
        <dsp:cNvSpPr/>
      </dsp:nvSpPr>
      <dsp:spPr>
        <a:xfrm>
          <a:off x="4182268" y="3311932"/>
          <a:ext cx="2365374" cy="1419225"/>
        </a:xfrm>
        <a:prstGeom prst="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CA" sz="1800" kern="1200" dirty="0"/>
            <a:t>Changing this setting does not require a restart</a:t>
          </a:r>
        </a:p>
      </dsp:txBody>
      <dsp:txXfrm>
        <a:off x="4182268" y="3311932"/>
        <a:ext cx="2365374" cy="14192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F8529C-AD91-467E-B3C6-9C9B7853C97B}">
      <dsp:nvSpPr>
        <dsp:cNvPr id="0" name=""/>
        <dsp:cNvSpPr/>
      </dsp:nvSpPr>
      <dsp:spPr>
        <a:xfrm>
          <a:off x="13521" y="229193"/>
          <a:ext cx="2257669" cy="871398"/>
        </a:xfrm>
        <a:prstGeom prst="rect">
          <a:avLst/>
        </a:prstGeom>
        <a:solidFill>
          <a:srgbClr val="0070C0"/>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CA" sz="2400" kern="1200" dirty="0"/>
            <a:t>Instance-level</a:t>
          </a:r>
        </a:p>
      </dsp:txBody>
      <dsp:txXfrm>
        <a:off x="13521" y="229193"/>
        <a:ext cx="2257669" cy="871398"/>
      </dsp:txXfrm>
    </dsp:sp>
    <dsp:sp modelId="{722FF98C-6ED4-43DC-A691-DADFD4898579}">
      <dsp:nvSpPr>
        <dsp:cNvPr id="0" name=""/>
        <dsp:cNvSpPr/>
      </dsp:nvSpPr>
      <dsp:spPr>
        <a:xfrm>
          <a:off x="13521" y="1100591"/>
          <a:ext cx="2257669" cy="2525399"/>
        </a:xfrm>
        <a:prstGeom prst="rect">
          <a:avLst/>
        </a:prstGeom>
        <a:no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Tx/>
            <a:buNone/>
          </a:pPr>
          <a:r>
            <a:rPr lang="en-US" sz="1200" b="0" i="0" kern="1200" dirty="0">
              <a:solidFill>
                <a:srgbClr val="FF0000"/>
              </a:solidFill>
              <a:latin typeface="Courier New" panose="02070309020205020404" pitchFamily="49" charset="0"/>
              <a:cs typeface="Courier New" panose="02070309020205020404" pitchFamily="49" charset="0"/>
            </a:rPr>
            <a:t>EXEC </a:t>
          </a:r>
          <a:r>
            <a:rPr lang="en-US" sz="1200" b="0" i="0" kern="1200" dirty="0" err="1">
              <a:solidFill>
                <a:srgbClr val="FF0000"/>
              </a:solidFill>
              <a:latin typeface="Courier New" panose="02070309020205020404" pitchFamily="49" charset="0"/>
              <a:cs typeface="Courier New" panose="02070309020205020404" pitchFamily="49" charset="0"/>
            </a:rPr>
            <a:t>sp_configure</a:t>
          </a:r>
          <a:r>
            <a:rPr lang="en-US" sz="1200" b="0" i="0" kern="1200" dirty="0">
              <a:solidFill>
                <a:srgbClr val="FF0000"/>
              </a:solidFill>
              <a:latin typeface="Courier New" panose="02070309020205020404" pitchFamily="49" charset="0"/>
              <a:cs typeface="Courier New" panose="02070309020205020404" pitchFamily="49" charset="0"/>
            </a:rPr>
            <a:t> </a:t>
          </a:r>
          <a:r>
            <a:rPr lang="en-US" sz="1200" b="0" i="0" kern="1200" dirty="0">
              <a:solidFill>
                <a:srgbClr val="FF0000"/>
              </a:solidFill>
              <a:highlight>
                <a:srgbClr val="FFFF00"/>
              </a:highlight>
              <a:latin typeface="Courier New" panose="02070309020205020404" pitchFamily="49" charset="0"/>
              <a:cs typeface="Courier New" panose="02070309020205020404" pitchFamily="49" charset="0"/>
            </a:rPr>
            <a:t>'max degree of parallelism', 16</a:t>
          </a:r>
          <a:r>
            <a:rPr lang="en-US" sz="1200" b="0" i="0" kern="1200" dirty="0">
              <a:solidFill>
                <a:srgbClr val="FF0000"/>
              </a:solidFill>
              <a:latin typeface="Courier New" panose="02070309020205020404" pitchFamily="49" charset="0"/>
              <a:cs typeface="Courier New" panose="02070309020205020404" pitchFamily="49" charset="0"/>
            </a:rPr>
            <a:t>; </a:t>
          </a:r>
          <a:endParaRPr lang="en-CA" sz="1200" kern="1200" dirty="0">
            <a:solidFill>
              <a:srgbClr val="FF0000"/>
            </a:solidFill>
            <a:latin typeface="Courier New" panose="02070309020205020404" pitchFamily="49" charset="0"/>
            <a:cs typeface="Courier New" panose="02070309020205020404" pitchFamily="49" charset="0"/>
          </a:endParaRPr>
        </a:p>
      </dsp:txBody>
      <dsp:txXfrm>
        <a:off x="13521" y="1100591"/>
        <a:ext cx="2257669" cy="2525399"/>
      </dsp:txXfrm>
    </dsp:sp>
    <dsp:sp modelId="{41713923-EBCB-4084-B936-7E611C06FE9E}">
      <dsp:nvSpPr>
        <dsp:cNvPr id="0" name=""/>
        <dsp:cNvSpPr/>
      </dsp:nvSpPr>
      <dsp:spPr>
        <a:xfrm>
          <a:off x="2587264" y="229193"/>
          <a:ext cx="2257669" cy="871398"/>
        </a:xfrm>
        <a:prstGeom prst="rect">
          <a:avLst/>
        </a:prstGeom>
        <a:solidFill>
          <a:srgbClr val="0070C0"/>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CA" sz="2400" kern="1200" dirty="0"/>
            <a:t>Database-scoped</a:t>
          </a:r>
        </a:p>
      </dsp:txBody>
      <dsp:txXfrm>
        <a:off x="2587264" y="229193"/>
        <a:ext cx="2257669" cy="871398"/>
      </dsp:txXfrm>
    </dsp:sp>
    <dsp:sp modelId="{0D71DD19-0FDC-4C9A-933B-7D046C27AD64}">
      <dsp:nvSpPr>
        <dsp:cNvPr id="0" name=""/>
        <dsp:cNvSpPr/>
      </dsp:nvSpPr>
      <dsp:spPr>
        <a:xfrm>
          <a:off x="2587264" y="1100591"/>
          <a:ext cx="2257669" cy="2525399"/>
        </a:xfrm>
        <a:prstGeom prst="rect">
          <a:avLst/>
        </a:prstGeom>
        <a:no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Tx/>
            <a:buNone/>
          </a:pPr>
          <a:r>
            <a:rPr lang="en-US" sz="1200" b="0" i="0" kern="1200" dirty="0">
              <a:solidFill>
                <a:srgbClr val="FF0000"/>
              </a:solidFill>
              <a:latin typeface="Courier New" panose="02070309020205020404" pitchFamily="49" charset="0"/>
              <a:cs typeface="Courier New" panose="02070309020205020404" pitchFamily="49" charset="0"/>
            </a:rPr>
            <a:t>ALTER DATABASE SCOPED CONFIGURATION SET </a:t>
          </a:r>
          <a:r>
            <a:rPr lang="en-US" sz="1200" b="0" i="0" kern="1200" dirty="0">
              <a:solidFill>
                <a:srgbClr val="FF0000"/>
              </a:solidFill>
              <a:highlight>
                <a:srgbClr val="FFFF00"/>
              </a:highlight>
              <a:latin typeface="Courier New" panose="02070309020205020404" pitchFamily="49" charset="0"/>
              <a:cs typeface="Courier New" panose="02070309020205020404" pitchFamily="49" charset="0"/>
            </a:rPr>
            <a:t>MAXDOP = 16 </a:t>
          </a:r>
          <a:r>
            <a:rPr lang="en-US" sz="1200" b="0" i="0" kern="1200" dirty="0">
              <a:latin typeface="Courier New" panose="02070309020205020404" pitchFamily="49" charset="0"/>
              <a:cs typeface="Courier New" panose="02070309020205020404" pitchFamily="49" charset="0"/>
            </a:rPr>
            <a:t>;</a:t>
          </a:r>
          <a:endParaRPr lang="en-CA" sz="1200" kern="1200" dirty="0">
            <a:latin typeface="Courier New" panose="02070309020205020404" pitchFamily="49" charset="0"/>
            <a:cs typeface="Courier New" panose="02070309020205020404" pitchFamily="49" charset="0"/>
          </a:endParaRPr>
        </a:p>
      </dsp:txBody>
      <dsp:txXfrm>
        <a:off x="2587264" y="1100591"/>
        <a:ext cx="2257669" cy="2525399"/>
      </dsp:txXfrm>
    </dsp:sp>
    <dsp:sp modelId="{88FC8A2C-5EFF-48BC-9238-A6A7C0CACC93}">
      <dsp:nvSpPr>
        <dsp:cNvPr id="0" name=""/>
        <dsp:cNvSpPr/>
      </dsp:nvSpPr>
      <dsp:spPr>
        <a:xfrm>
          <a:off x="5161006" y="229193"/>
          <a:ext cx="2257669" cy="871398"/>
        </a:xfrm>
        <a:prstGeom prst="rect">
          <a:avLst/>
        </a:prstGeom>
        <a:solidFill>
          <a:srgbClr val="0070C0"/>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CA" sz="2400" kern="1200" dirty="0"/>
            <a:t>Query Hint</a:t>
          </a:r>
        </a:p>
      </dsp:txBody>
      <dsp:txXfrm>
        <a:off x="5161006" y="229193"/>
        <a:ext cx="2257669" cy="871398"/>
      </dsp:txXfrm>
    </dsp:sp>
    <dsp:sp modelId="{E2F28F74-28AF-4343-B051-912D1453C2A7}">
      <dsp:nvSpPr>
        <dsp:cNvPr id="0" name=""/>
        <dsp:cNvSpPr/>
      </dsp:nvSpPr>
      <dsp:spPr>
        <a:xfrm>
          <a:off x="5161006" y="1100591"/>
          <a:ext cx="2257669" cy="2525399"/>
        </a:xfrm>
        <a:prstGeom prst="rect">
          <a:avLst/>
        </a:prstGeom>
        <a:no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Tx/>
            <a:buNone/>
          </a:pPr>
          <a:r>
            <a:rPr lang="en-US" sz="1200" kern="1200" dirty="0">
              <a:solidFill>
                <a:srgbClr val="FF0000"/>
              </a:solidFill>
              <a:latin typeface="Courier New" panose="02070309020205020404" pitchFamily="49" charset="0"/>
              <a:cs typeface="Courier New" panose="02070309020205020404" pitchFamily="49" charset="0"/>
            </a:rPr>
            <a:t>SELECT </a:t>
          </a:r>
          <a:r>
            <a:rPr lang="en-US" sz="1200" kern="1200" dirty="0" err="1">
              <a:solidFill>
                <a:srgbClr val="FF0000"/>
              </a:solidFill>
              <a:latin typeface="Courier New" panose="02070309020205020404" pitchFamily="49" charset="0"/>
              <a:cs typeface="Courier New" panose="02070309020205020404" pitchFamily="49" charset="0"/>
            </a:rPr>
            <a:t>ProductID</a:t>
          </a:r>
          <a:r>
            <a:rPr lang="en-US" sz="1200" kern="1200" dirty="0">
              <a:solidFill>
                <a:srgbClr val="FF0000"/>
              </a:solidFill>
              <a:latin typeface="Courier New" panose="02070309020205020404" pitchFamily="49" charset="0"/>
              <a:cs typeface="Courier New" panose="02070309020205020404" pitchFamily="49" charset="0"/>
            </a:rPr>
            <a:t>, </a:t>
          </a:r>
          <a:r>
            <a:rPr lang="en-US" sz="1200" kern="1200" dirty="0" err="1">
              <a:solidFill>
                <a:srgbClr val="FF0000"/>
              </a:solidFill>
              <a:latin typeface="Courier New" panose="02070309020205020404" pitchFamily="49" charset="0"/>
              <a:cs typeface="Courier New" panose="02070309020205020404" pitchFamily="49" charset="0"/>
            </a:rPr>
            <a:t>OrderQty</a:t>
          </a:r>
          <a:r>
            <a:rPr lang="en-US" sz="1200" kern="1200" dirty="0">
              <a:solidFill>
                <a:srgbClr val="FF0000"/>
              </a:solidFill>
              <a:latin typeface="Courier New" panose="02070309020205020404" pitchFamily="49" charset="0"/>
              <a:cs typeface="Courier New" panose="02070309020205020404" pitchFamily="49" charset="0"/>
            </a:rPr>
            <a:t>, SUM(</a:t>
          </a:r>
          <a:r>
            <a:rPr lang="en-US" sz="1200" kern="1200" dirty="0" err="1">
              <a:solidFill>
                <a:srgbClr val="FF0000"/>
              </a:solidFill>
              <a:latin typeface="Courier New" panose="02070309020205020404" pitchFamily="49" charset="0"/>
              <a:cs typeface="Courier New" panose="02070309020205020404" pitchFamily="49" charset="0"/>
            </a:rPr>
            <a:t>LineTotal</a:t>
          </a:r>
          <a:r>
            <a:rPr lang="en-US" sz="1200" kern="1200" dirty="0">
              <a:solidFill>
                <a:srgbClr val="FF0000"/>
              </a:solidFill>
              <a:latin typeface="Courier New" panose="02070309020205020404" pitchFamily="49" charset="0"/>
              <a:cs typeface="Courier New" panose="02070309020205020404" pitchFamily="49" charset="0"/>
            </a:rPr>
            <a:t>) AS Total</a:t>
          </a:r>
          <a:endParaRPr lang="en-CA" sz="1200" kern="1200" dirty="0">
            <a:solidFill>
              <a:srgbClr val="FF0000"/>
            </a:solidFill>
            <a:latin typeface="Courier New" panose="02070309020205020404" pitchFamily="49" charset="0"/>
            <a:cs typeface="Courier New" panose="02070309020205020404" pitchFamily="49" charset="0"/>
          </a:endParaRPr>
        </a:p>
        <a:p>
          <a:pPr marL="114300" lvl="1" indent="-114300" algn="l" defTabSz="533400">
            <a:lnSpc>
              <a:spcPct val="90000"/>
            </a:lnSpc>
            <a:spcBef>
              <a:spcPct val="0"/>
            </a:spcBef>
            <a:spcAft>
              <a:spcPct val="15000"/>
            </a:spcAft>
            <a:buFontTx/>
            <a:buNone/>
          </a:pPr>
          <a:r>
            <a:rPr lang="en-CA" sz="1200" kern="1200" dirty="0">
              <a:solidFill>
                <a:srgbClr val="FF0000"/>
              </a:solidFill>
              <a:latin typeface="Courier New" panose="02070309020205020404" pitchFamily="49" charset="0"/>
              <a:cs typeface="Courier New" panose="02070309020205020404" pitchFamily="49" charset="0"/>
            </a:rPr>
            <a:t>FROM Sales.SalesOrderDetail</a:t>
          </a:r>
        </a:p>
        <a:p>
          <a:pPr marL="114300" lvl="1" indent="-114300" algn="l" defTabSz="533400">
            <a:lnSpc>
              <a:spcPct val="90000"/>
            </a:lnSpc>
            <a:spcBef>
              <a:spcPct val="0"/>
            </a:spcBef>
            <a:spcAft>
              <a:spcPct val="15000"/>
            </a:spcAft>
            <a:buFontTx/>
            <a:buNone/>
          </a:pPr>
          <a:r>
            <a:rPr lang="en-CA" sz="1200" kern="1200" dirty="0">
              <a:solidFill>
                <a:srgbClr val="FF0000"/>
              </a:solidFill>
              <a:latin typeface="Courier New" panose="02070309020205020404" pitchFamily="49" charset="0"/>
              <a:cs typeface="Courier New" panose="02070309020205020404" pitchFamily="49" charset="0"/>
            </a:rPr>
            <a:t>WHERE UnitPrice &lt; $5.00</a:t>
          </a:r>
        </a:p>
        <a:p>
          <a:pPr marL="114300" lvl="1" indent="-114300" algn="l" defTabSz="533400">
            <a:lnSpc>
              <a:spcPct val="90000"/>
            </a:lnSpc>
            <a:spcBef>
              <a:spcPct val="0"/>
            </a:spcBef>
            <a:spcAft>
              <a:spcPct val="15000"/>
            </a:spcAft>
            <a:buFontTx/>
            <a:buNone/>
          </a:pPr>
          <a:r>
            <a:rPr lang="en-CA" sz="1200" kern="1200" dirty="0">
              <a:solidFill>
                <a:srgbClr val="FF0000"/>
              </a:solidFill>
              <a:latin typeface="Courier New" panose="02070309020205020404" pitchFamily="49" charset="0"/>
              <a:cs typeface="Courier New" panose="02070309020205020404" pitchFamily="49" charset="0"/>
            </a:rPr>
            <a:t>GROUP BY ProductID, OrderQty</a:t>
          </a:r>
        </a:p>
        <a:p>
          <a:pPr marL="114300" lvl="1" indent="-114300" algn="l" defTabSz="533400">
            <a:lnSpc>
              <a:spcPct val="90000"/>
            </a:lnSpc>
            <a:spcBef>
              <a:spcPct val="0"/>
            </a:spcBef>
            <a:spcAft>
              <a:spcPct val="15000"/>
            </a:spcAft>
            <a:buFontTx/>
            <a:buNone/>
          </a:pPr>
          <a:r>
            <a:rPr lang="en-CA" sz="1200" kern="1200" dirty="0">
              <a:solidFill>
                <a:srgbClr val="FF0000"/>
              </a:solidFill>
              <a:latin typeface="Courier New" panose="02070309020205020404" pitchFamily="49" charset="0"/>
              <a:cs typeface="Courier New" panose="02070309020205020404" pitchFamily="49" charset="0"/>
            </a:rPr>
            <a:t>ORDER BY ProductID, OrderQty</a:t>
          </a:r>
        </a:p>
        <a:p>
          <a:pPr marL="114300" lvl="1" indent="-114300" algn="l" defTabSz="533400">
            <a:lnSpc>
              <a:spcPct val="90000"/>
            </a:lnSpc>
            <a:spcBef>
              <a:spcPct val="0"/>
            </a:spcBef>
            <a:spcAft>
              <a:spcPct val="15000"/>
            </a:spcAft>
            <a:buFontTx/>
            <a:buNone/>
          </a:pPr>
          <a:r>
            <a:rPr lang="en-CA" sz="1200" kern="1200" dirty="0">
              <a:solidFill>
                <a:srgbClr val="FF0000"/>
              </a:solidFill>
              <a:highlight>
                <a:srgbClr val="FFFF00"/>
              </a:highlight>
              <a:latin typeface="Courier New" panose="02070309020205020404" pitchFamily="49" charset="0"/>
              <a:cs typeface="Courier New" panose="02070309020205020404" pitchFamily="49" charset="0"/>
            </a:rPr>
            <a:t>OPTION (MAXDOP 16);</a:t>
          </a:r>
        </a:p>
        <a:p>
          <a:pPr marL="114300" lvl="1" indent="-114300" algn="l" defTabSz="533400">
            <a:lnSpc>
              <a:spcPct val="90000"/>
            </a:lnSpc>
            <a:spcBef>
              <a:spcPct val="0"/>
            </a:spcBef>
            <a:spcAft>
              <a:spcPct val="15000"/>
            </a:spcAft>
            <a:buFontTx/>
            <a:buNone/>
          </a:pPr>
          <a:r>
            <a:rPr lang="en-CA" sz="1200" kern="1200" dirty="0">
              <a:solidFill>
                <a:srgbClr val="FF0000"/>
              </a:solidFill>
              <a:latin typeface="Courier New" panose="02070309020205020404" pitchFamily="49" charset="0"/>
              <a:cs typeface="Courier New" panose="02070309020205020404" pitchFamily="49" charset="0"/>
            </a:rPr>
            <a:t>GO</a:t>
          </a:r>
        </a:p>
      </dsp:txBody>
      <dsp:txXfrm>
        <a:off x="5161006" y="1100591"/>
        <a:ext cx="2257669" cy="2525399"/>
      </dsp:txXfrm>
    </dsp:sp>
    <dsp:sp modelId="{55438365-28FE-4308-9EBD-6F142F9D5B1E}">
      <dsp:nvSpPr>
        <dsp:cNvPr id="0" name=""/>
        <dsp:cNvSpPr/>
      </dsp:nvSpPr>
      <dsp:spPr>
        <a:xfrm>
          <a:off x="7734749" y="229193"/>
          <a:ext cx="2257669" cy="871398"/>
        </a:xfrm>
        <a:prstGeom prst="rect">
          <a:avLst/>
        </a:prstGeom>
        <a:solidFill>
          <a:srgbClr val="0070C0"/>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CA" sz="2200" kern="1200" dirty="0"/>
            <a:t>Resource Governor</a:t>
          </a:r>
        </a:p>
      </dsp:txBody>
      <dsp:txXfrm>
        <a:off x="7734749" y="229193"/>
        <a:ext cx="2257669" cy="871398"/>
      </dsp:txXfrm>
    </dsp:sp>
    <dsp:sp modelId="{E2108DB1-F5D6-4411-BB22-7BF74429C9EC}">
      <dsp:nvSpPr>
        <dsp:cNvPr id="0" name=""/>
        <dsp:cNvSpPr/>
      </dsp:nvSpPr>
      <dsp:spPr>
        <a:xfrm>
          <a:off x="7734749" y="1100591"/>
          <a:ext cx="2257669" cy="2525399"/>
        </a:xfrm>
        <a:prstGeom prst="rect">
          <a:avLst/>
        </a:prstGeom>
        <a:noFill/>
        <a:ln w="1905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Tx/>
            <a:buNone/>
          </a:pPr>
          <a:r>
            <a:rPr lang="en-CA" sz="1200" b="0" i="0" kern="1200" dirty="0">
              <a:solidFill>
                <a:srgbClr val="FF0000"/>
              </a:solidFill>
              <a:latin typeface="Courier New" panose="02070309020205020404" pitchFamily="49" charset="0"/>
              <a:cs typeface="Courier New" panose="02070309020205020404" pitchFamily="49" charset="0"/>
            </a:rPr>
            <a:t>CREATE WORKLOAD GROUP </a:t>
          </a:r>
          <a:r>
            <a:rPr lang="en-CA" sz="1200" b="0" i="0" kern="1200" dirty="0" err="1">
              <a:solidFill>
                <a:srgbClr val="FF0000"/>
              </a:solidFill>
              <a:latin typeface="Courier New" panose="02070309020205020404" pitchFamily="49" charset="0"/>
              <a:cs typeface="Courier New" panose="02070309020205020404" pitchFamily="49" charset="0"/>
            </a:rPr>
            <a:t>newReports</a:t>
          </a:r>
          <a:endParaRPr lang="en-CA" sz="1200" kern="1200" dirty="0">
            <a:solidFill>
              <a:srgbClr val="FF0000"/>
            </a:solidFill>
            <a:latin typeface="Courier New" panose="02070309020205020404" pitchFamily="49" charset="0"/>
            <a:cs typeface="Courier New" panose="02070309020205020404" pitchFamily="49" charset="0"/>
          </a:endParaRPr>
        </a:p>
        <a:p>
          <a:pPr marL="114300" lvl="1" indent="-114300" algn="l" defTabSz="533400">
            <a:lnSpc>
              <a:spcPct val="90000"/>
            </a:lnSpc>
            <a:spcBef>
              <a:spcPct val="0"/>
            </a:spcBef>
            <a:spcAft>
              <a:spcPct val="15000"/>
            </a:spcAft>
            <a:buFontTx/>
            <a:buNone/>
          </a:pPr>
          <a:r>
            <a:rPr lang="en-CA" sz="1200" b="0" i="0" kern="1200">
              <a:solidFill>
                <a:srgbClr val="FF0000"/>
              </a:solidFill>
              <a:latin typeface="Courier New" panose="02070309020205020404" pitchFamily="49" charset="0"/>
              <a:cs typeface="Courier New" panose="02070309020205020404" pitchFamily="49" charset="0"/>
            </a:rPr>
            <a:t>WITH</a:t>
          </a:r>
          <a:endParaRPr lang="en-CA" sz="1200" b="0" i="0" kern="1200" dirty="0">
            <a:solidFill>
              <a:srgbClr val="FF0000"/>
            </a:solidFill>
            <a:latin typeface="Courier New" panose="02070309020205020404" pitchFamily="49" charset="0"/>
            <a:cs typeface="Courier New" panose="02070309020205020404" pitchFamily="49" charset="0"/>
          </a:endParaRPr>
        </a:p>
        <a:p>
          <a:pPr marL="114300" lvl="1" indent="-114300" algn="l" defTabSz="533400">
            <a:lnSpc>
              <a:spcPct val="90000"/>
            </a:lnSpc>
            <a:spcBef>
              <a:spcPct val="0"/>
            </a:spcBef>
            <a:spcAft>
              <a:spcPct val="15000"/>
            </a:spcAft>
            <a:buFontTx/>
            <a:buNone/>
          </a:pPr>
          <a:r>
            <a:rPr lang="en-CA" sz="1200" b="0" i="0" kern="1200" dirty="0">
              <a:solidFill>
                <a:srgbClr val="FF0000"/>
              </a:solidFill>
              <a:latin typeface="Courier New" panose="02070309020205020404" pitchFamily="49" charset="0"/>
              <a:cs typeface="Courier New" panose="02070309020205020404" pitchFamily="49" charset="0"/>
            </a:rPr>
            <a:t>(REQUEST_MAX_MEMORY_GRANT_PERCENT = 2.5</a:t>
          </a:r>
        </a:p>
        <a:p>
          <a:pPr marL="114300" lvl="1" indent="-114300" algn="l" defTabSz="533400">
            <a:lnSpc>
              <a:spcPct val="90000"/>
            </a:lnSpc>
            <a:spcBef>
              <a:spcPct val="0"/>
            </a:spcBef>
            <a:spcAft>
              <a:spcPct val="15000"/>
            </a:spcAft>
            <a:buFontTx/>
            <a:buNone/>
          </a:pPr>
          <a:r>
            <a:rPr lang="en-CA" sz="1200" b="0" i="0" kern="1200">
              <a:solidFill>
                <a:srgbClr val="FF0000"/>
              </a:solidFill>
              <a:latin typeface="Courier New" panose="02070309020205020404" pitchFamily="49" charset="0"/>
              <a:cs typeface="Courier New" panose="02070309020205020404" pitchFamily="49" charset="0"/>
            </a:rPr>
            <a:t>, REQUEST_MAX_CPU_TIME_SEC = 100</a:t>
          </a:r>
          <a:endParaRPr lang="en-CA" sz="1200" b="0" i="0" kern="1200" dirty="0">
            <a:solidFill>
              <a:srgbClr val="FF0000"/>
            </a:solidFill>
            <a:latin typeface="Courier New" panose="02070309020205020404" pitchFamily="49" charset="0"/>
            <a:cs typeface="Courier New" panose="02070309020205020404" pitchFamily="49" charset="0"/>
          </a:endParaRPr>
        </a:p>
        <a:p>
          <a:pPr marL="114300" lvl="1" indent="-114300" algn="l" defTabSz="533400">
            <a:lnSpc>
              <a:spcPct val="90000"/>
            </a:lnSpc>
            <a:spcBef>
              <a:spcPct val="0"/>
            </a:spcBef>
            <a:spcAft>
              <a:spcPct val="15000"/>
            </a:spcAft>
            <a:buFontTx/>
            <a:buNone/>
          </a:pPr>
          <a:r>
            <a:rPr lang="en-CA" sz="1200" b="0" i="0" kern="1200" dirty="0">
              <a:solidFill>
                <a:srgbClr val="FF0000"/>
              </a:solidFill>
              <a:latin typeface="Courier New" panose="02070309020205020404" pitchFamily="49" charset="0"/>
              <a:cs typeface="Courier New" panose="02070309020205020404" pitchFamily="49" charset="0"/>
            </a:rPr>
            <a:t>, </a:t>
          </a:r>
          <a:r>
            <a:rPr lang="en-CA" sz="1200" b="0" i="0" kern="1200" dirty="0">
              <a:solidFill>
                <a:srgbClr val="FF0000"/>
              </a:solidFill>
              <a:highlight>
                <a:srgbClr val="FFFF00"/>
              </a:highlight>
              <a:latin typeface="Courier New" panose="02070309020205020404" pitchFamily="49" charset="0"/>
              <a:cs typeface="Courier New" panose="02070309020205020404" pitchFamily="49" charset="0"/>
            </a:rPr>
            <a:t>MAX_DOP = 16</a:t>
          </a:r>
          <a:r>
            <a:rPr lang="en-CA" sz="1200" b="0" i="0" kern="1200" dirty="0">
              <a:solidFill>
                <a:srgbClr val="FF0000"/>
              </a:solidFill>
              <a:latin typeface="Courier New" panose="02070309020205020404" pitchFamily="49" charset="0"/>
              <a:cs typeface="Courier New" panose="02070309020205020404" pitchFamily="49" charset="0"/>
            </a:rPr>
            <a:t>)</a:t>
          </a:r>
        </a:p>
        <a:p>
          <a:pPr marL="114300" lvl="1" indent="-114300" algn="l" defTabSz="533400">
            <a:lnSpc>
              <a:spcPct val="90000"/>
            </a:lnSpc>
            <a:spcBef>
              <a:spcPct val="0"/>
            </a:spcBef>
            <a:spcAft>
              <a:spcPct val="15000"/>
            </a:spcAft>
            <a:buFontTx/>
            <a:buNone/>
          </a:pPr>
          <a:r>
            <a:rPr lang="en-CA" sz="1200" b="0" i="0" kern="1200">
              <a:solidFill>
                <a:srgbClr val="FF0000"/>
              </a:solidFill>
              <a:latin typeface="Courier New" panose="02070309020205020404" pitchFamily="49" charset="0"/>
              <a:cs typeface="Courier New" panose="02070309020205020404" pitchFamily="49" charset="0"/>
            </a:rPr>
            <a:t>USING "default" ;</a:t>
          </a:r>
          <a:endParaRPr lang="en-CA" sz="1200" b="0" i="0" kern="1200" dirty="0">
            <a:solidFill>
              <a:srgbClr val="FF0000"/>
            </a:solidFill>
            <a:latin typeface="Courier New" panose="02070309020205020404" pitchFamily="49" charset="0"/>
            <a:cs typeface="Courier New" panose="02070309020205020404" pitchFamily="49" charset="0"/>
          </a:endParaRPr>
        </a:p>
        <a:p>
          <a:pPr marL="114300" lvl="1" indent="-114300" algn="l" defTabSz="533400">
            <a:lnSpc>
              <a:spcPct val="90000"/>
            </a:lnSpc>
            <a:spcBef>
              <a:spcPct val="0"/>
            </a:spcBef>
            <a:spcAft>
              <a:spcPct val="15000"/>
            </a:spcAft>
            <a:buFontTx/>
            <a:buNone/>
          </a:pPr>
          <a:r>
            <a:rPr lang="en-CA" sz="1200" b="0" i="0" kern="1200" dirty="0">
              <a:solidFill>
                <a:srgbClr val="FF0000"/>
              </a:solidFill>
              <a:latin typeface="Courier New" panose="02070309020205020404" pitchFamily="49" charset="0"/>
              <a:cs typeface="Courier New" panose="02070309020205020404" pitchFamily="49" charset="0"/>
            </a:rPr>
            <a:t>GO</a:t>
          </a:r>
        </a:p>
      </dsp:txBody>
      <dsp:txXfrm>
        <a:off x="7734749" y="1100591"/>
        <a:ext cx="2257669" cy="25253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EC5FB-B38C-4784-B6E1-579899BC207E}">
      <dsp:nvSpPr>
        <dsp:cNvPr id="0" name=""/>
        <dsp:cNvSpPr/>
      </dsp:nvSpPr>
      <dsp:spPr>
        <a:xfrm>
          <a:off x="0" y="114420"/>
          <a:ext cx="8128000" cy="63882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CA" sz="2600" kern="1200" dirty="0"/>
            <a:t>DOP Feedback (SQL 2022 only)</a:t>
          </a:r>
        </a:p>
      </dsp:txBody>
      <dsp:txXfrm>
        <a:off x="31185" y="145605"/>
        <a:ext cx="8065630" cy="576450"/>
      </dsp:txXfrm>
    </dsp:sp>
    <dsp:sp modelId="{83029A18-E4F2-4345-BF3B-157E425EE35C}">
      <dsp:nvSpPr>
        <dsp:cNvPr id="0" name=""/>
        <dsp:cNvSpPr/>
      </dsp:nvSpPr>
      <dsp:spPr>
        <a:xfrm>
          <a:off x="0" y="753240"/>
          <a:ext cx="8128000" cy="699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CA" sz="2000" kern="1200" dirty="0">
              <a:solidFill>
                <a:srgbClr val="0070C0"/>
              </a:solidFill>
            </a:rPr>
            <a:t>Part of Intelligent Query Processing</a:t>
          </a:r>
          <a:endParaRPr lang="en-CA" sz="2000" kern="1200" dirty="0"/>
        </a:p>
        <a:p>
          <a:pPr marL="228600" lvl="1" indent="-228600" algn="l" defTabSz="889000">
            <a:lnSpc>
              <a:spcPct val="90000"/>
            </a:lnSpc>
            <a:spcBef>
              <a:spcPct val="0"/>
            </a:spcBef>
            <a:spcAft>
              <a:spcPct val="20000"/>
            </a:spcAft>
            <a:buChar char="•"/>
          </a:pPr>
          <a:r>
            <a:rPr lang="en-CA" sz="2000" kern="1200" dirty="0">
              <a:solidFill>
                <a:srgbClr val="0070C0"/>
              </a:solidFill>
            </a:rPr>
            <a:t>Dynamically lowers DOP of query to improve performance.</a:t>
          </a:r>
        </a:p>
      </dsp:txBody>
      <dsp:txXfrm>
        <a:off x="0" y="753240"/>
        <a:ext cx="8128000" cy="699660"/>
      </dsp:txXfrm>
    </dsp:sp>
    <dsp:sp modelId="{A8A7A0FE-2097-4C9F-B8C2-6442A9D269D3}">
      <dsp:nvSpPr>
        <dsp:cNvPr id="0" name=""/>
        <dsp:cNvSpPr/>
      </dsp:nvSpPr>
      <dsp:spPr>
        <a:xfrm>
          <a:off x="0" y="1452900"/>
          <a:ext cx="8128000" cy="63882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CA" sz="2600" kern="1200" dirty="0"/>
            <a:t>Available worker threads</a:t>
          </a:r>
        </a:p>
      </dsp:txBody>
      <dsp:txXfrm>
        <a:off x="31185" y="1484085"/>
        <a:ext cx="8065630" cy="576450"/>
      </dsp:txXfrm>
    </dsp:sp>
    <dsp:sp modelId="{51BAF268-35ED-4730-9169-DADCE9E9F88A}">
      <dsp:nvSpPr>
        <dsp:cNvPr id="0" name=""/>
        <dsp:cNvSpPr/>
      </dsp:nvSpPr>
      <dsp:spPr>
        <a:xfrm>
          <a:off x="0" y="2091720"/>
          <a:ext cx="8128000"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CA" sz="2000" kern="1200" dirty="0">
              <a:solidFill>
                <a:srgbClr val="0070C0"/>
              </a:solidFill>
            </a:rPr>
            <a:t>The number of available threads can influence the DOP of a query.</a:t>
          </a:r>
          <a:endParaRPr lang="en-CA" sz="2000" kern="1200" dirty="0"/>
        </a:p>
      </dsp:txBody>
      <dsp:txXfrm>
        <a:off x="0" y="2091720"/>
        <a:ext cx="8128000" cy="430560"/>
      </dsp:txXfrm>
    </dsp:sp>
    <dsp:sp modelId="{99284118-0EFA-404B-B6BE-658D50FD5149}">
      <dsp:nvSpPr>
        <dsp:cNvPr id="0" name=""/>
        <dsp:cNvSpPr/>
      </dsp:nvSpPr>
      <dsp:spPr>
        <a:xfrm>
          <a:off x="0" y="2522280"/>
          <a:ext cx="8128000" cy="63882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CA" sz="2600" kern="1200" dirty="0"/>
            <a:t>CPU Affinity</a:t>
          </a:r>
        </a:p>
      </dsp:txBody>
      <dsp:txXfrm>
        <a:off x="31185" y="2553465"/>
        <a:ext cx="8065630" cy="576450"/>
      </dsp:txXfrm>
    </dsp:sp>
    <dsp:sp modelId="{C8642609-6F0D-495E-9C83-4A1171FE63AB}">
      <dsp:nvSpPr>
        <dsp:cNvPr id="0" name=""/>
        <dsp:cNvSpPr/>
      </dsp:nvSpPr>
      <dsp:spPr>
        <a:xfrm>
          <a:off x="0" y="3161100"/>
          <a:ext cx="8128000" cy="632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CA" sz="2000" kern="1200" dirty="0">
              <a:solidFill>
                <a:srgbClr val="0070C0"/>
              </a:solidFill>
            </a:rPr>
            <a:t>Processor affinity configuration must allow SQL Server to use at least two processors</a:t>
          </a:r>
        </a:p>
      </dsp:txBody>
      <dsp:txXfrm>
        <a:off x="0" y="3161100"/>
        <a:ext cx="8128000" cy="632385"/>
      </dsp:txXfrm>
    </dsp:sp>
    <dsp:sp modelId="{BF53DFDE-C768-4C4C-AE2E-8981BB541480}">
      <dsp:nvSpPr>
        <dsp:cNvPr id="0" name=""/>
        <dsp:cNvSpPr/>
      </dsp:nvSpPr>
      <dsp:spPr>
        <a:xfrm>
          <a:off x="0" y="3793485"/>
          <a:ext cx="8128000" cy="63882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CA" sz="2600" kern="1200" dirty="0"/>
            <a:t>Logical CPU</a:t>
          </a:r>
        </a:p>
      </dsp:txBody>
      <dsp:txXfrm>
        <a:off x="31185" y="3824670"/>
        <a:ext cx="8065630" cy="576450"/>
      </dsp:txXfrm>
    </dsp:sp>
    <dsp:sp modelId="{048E853F-1C1B-43F8-B8E6-59673609B906}">
      <dsp:nvSpPr>
        <dsp:cNvPr id="0" name=""/>
        <dsp:cNvSpPr/>
      </dsp:nvSpPr>
      <dsp:spPr>
        <a:xfrm>
          <a:off x="0" y="4432305"/>
          <a:ext cx="8128000"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CA" sz="2000" kern="1200" dirty="0">
              <a:solidFill>
                <a:srgbClr val="0070C0"/>
              </a:solidFill>
            </a:rPr>
            <a:t>Ultimately, the number of logical processors limits DOP</a:t>
          </a:r>
        </a:p>
      </dsp:txBody>
      <dsp:txXfrm>
        <a:off x="0" y="4432305"/>
        <a:ext cx="8128000" cy="4305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EC5FB-B38C-4784-B6E1-579899BC207E}">
      <dsp:nvSpPr>
        <dsp:cNvPr id="0" name=""/>
        <dsp:cNvSpPr/>
      </dsp:nvSpPr>
      <dsp:spPr>
        <a:xfrm>
          <a:off x="0" y="2797"/>
          <a:ext cx="8128000" cy="90909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CA" sz="3700" kern="1200" dirty="0"/>
            <a:t>Scalar UDF</a:t>
          </a:r>
        </a:p>
      </dsp:txBody>
      <dsp:txXfrm>
        <a:off x="44378" y="47175"/>
        <a:ext cx="8039244" cy="820334"/>
      </dsp:txXfrm>
    </dsp:sp>
    <dsp:sp modelId="{A8A7A0FE-2097-4C9F-B8C2-6442A9D269D3}">
      <dsp:nvSpPr>
        <dsp:cNvPr id="0" name=""/>
        <dsp:cNvSpPr/>
      </dsp:nvSpPr>
      <dsp:spPr>
        <a:xfrm>
          <a:off x="0" y="1018447"/>
          <a:ext cx="8128000" cy="90909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CA" sz="3700" kern="1200" dirty="0"/>
            <a:t>Remote query</a:t>
          </a:r>
        </a:p>
      </dsp:txBody>
      <dsp:txXfrm>
        <a:off x="44378" y="1062825"/>
        <a:ext cx="8039244" cy="820334"/>
      </dsp:txXfrm>
    </dsp:sp>
    <dsp:sp modelId="{99284118-0EFA-404B-B6BE-658D50FD5149}">
      <dsp:nvSpPr>
        <dsp:cNvPr id="0" name=""/>
        <dsp:cNvSpPr/>
      </dsp:nvSpPr>
      <dsp:spPr>
        <a:xfrm>
          <a:off x="0" y="2034098"/>
          <a:ext cx="8128000" cy="90909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CA" sz="3700" kern="1200" dirty="0"/>
            <a:t>Dynamic Cursors</a:t>
          </a:r>
        </a:p>
      </dsp:txBody>
      <dsp:txXfrm>
        <a:off x="44378" y="2078476"/>
        <a:ext cx="8039244" cy="820334"/>
      </dsp:txXfrm>
    </dsp:sp>
    <dsp:sp modelId="{BF53DFDE-C768-4C4C-AE2E-8981BB541480}">
      <dsp:nvSpPr>
        <dsp:cNvPr id="0" name=""/>
        <dsp:cNvSpPr/>
      </dsp:nvSpPr>
      <dsp:spPr>
        <a:xfrm>
          <a:off x="0" y="3049747"/>
          <a:ext cx="8128000" cy="90909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CA" sz="3700" kern="1200" dirty="0"/>
            <a:t>Recursive Queries</a:t>
          </a:r>
        </a:p>
      </dsp:txBody>
      <dsp:txXfrm>
        <a:off x="44378" y="3094125"/>
        <a:ext cx="8039244" cy="820334"/>
      </dsp:txXfrm>
    </dsp:sp>
    <dsp:sp modelId="{BE2BBF85-32D2-4718-8429-8423095A1BBA}">
      <dsp:nvSpPr>
        <dsp:cNvPr id="0" name=""/>
        <dsp:cNvSpPr/>
      </dsp:nvSpPr>
      <dsp:spPr>
        <a:xfrm>
          <a:off x="0" y="4065398"/>
          <a:ext cx="8128000" cy="90909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CA" sz="3700" kern="1200" dirty="0">
              <a:solidFill>
                <a:schemeClr val="bg1"/>
              </a:solidFill>
            </a:rPr>
            <a:t>TOP keyword</a:t>
          </a:r>
        </a:p>
      </dsp:txBody>
      <dsp:txXfrm>
        <a:off x="44378" y="4109776"/>
        <a:ext cx="8039244" cy="8203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57B9D9-1501-4633-9C35-DF1ADB589A97}">
      <dsp:nvSpPr>
        <dsp:cNvPr id="0" name=""/>
        <dsp:cNvSpPr/>
      </dsp:nvSpPr>
      <dsp:spPr>
        <a:xfrm>
          <a:off x="899900" y="20065"/>
          <a:ext cx="3539115" cy="696040"/>
        </a:xfrm>
        <a:prstGeom prst="roundRect">
          <a:avLst>
            <a:gd name="adj" fmla="val 10000"/>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CA" sz="1600" kern="1200" dirty="0"/>
            <a:t>Caveats </a:t>
          </a:r>
          <a:r>
            <a:rPr lang="en-CA" sz="1800" kern="1200" dirty="0"/>
            <a:t>of</a:t>
          </a:r>
          <a:r>
            <a:rPr lang="en-CA" sz="1600" kern="1200" dirty="0"/>
            <a:t> manually  setting MAXDOP</a:t>
          </a:r>
        </a:p>
      </dsp:txBody>
      <dsp:txXfrm>
        <a:off x="920286" y="40451"/>
        <a:ext cx="3498343" cy="655268"/>
      </dsp:txXfrm>
    </dsp:sp>
    <dsp:sp modelId="{807D7F71-6FA9-4191-B19C-D095DD22834E}">
      <dsp:nvSpPr>
        <dsp:cNvPr id="0" name=""/>
        <dsp:cNvSpPr/>
      </dsp:nvSpPr>
      <dsp:spPr>
        <a:xfrm>
          <a:off x="1253812" y="716105"/>
          <a:ext cx="353911" cy="504629"/>
        </a:xfrm>
        <a:custGeom>
          <a:avLst/>
          <a:gdLst/>
          <a:ahLst/>
          <a:cxnLst/>
          <a:rect l="0" t="0" r="0" b="0"/>
          <a:pathLst>
            <a:path>
              <a:moveTo>
                <a:pt x="0" y="0"/>
              </a:moveTo>
              <a:lnTo>
                <a:pt x="0" y="504629"/>
              </a:lnTo>
              <a:lnTo>
                <a:pt x="353911" y="504629"/>
              </a:lnTo>
            </a:path>
          </a:pathLst>
        </a:custGeom>
        <a:noFill/>
        <a:ln w="19050" cap="flat" cmpd="sng" algn="ctr">
          <a:solidFill>
            <a:srgbClr val="0070C0"/>
          </a:solidFill>
          <a:prstDash val="solid"/>
          <a:miter lim="800000"/>
        </a:ln>
        <a:effectLst/>
      </dsp:spPr>
      <dsp:style>
        <a:lnRef idx="2">
          <a:scrgbClr r="0" g="0" b="0"/>
        </a:lnRef>
        <a:fillRef idx="0">
          <a:scrgbClr r="0" g="0" b="0"/>
        </a:fillRef>
        <a:effectRef idx="0">
          <a:scrgbClr r="0" g="0" b="0"/>
        </a:effectRef>
        <a:fontRef idx="minor"/>
      </dsp:style>
    </dsp:sp>
    <dsp:sp modelId="{E08068A6-3346-4A02-A5EB-9A030BF4AFE4}">
      <dsp:nvSpPr>
        <dsp:cNvPr id="0" name=""/>
        <dsp:cNvSpPr/>
      </dsp:nvSpPr>
      <dsp:spPr>
        <a:xfrm>
          <a:off x="1607723" y="872714"/>
          <a:ext cx="2715170" cy="696040"/>
        </a:xfrm>
        <a:prstGeom prst="roundRect">
          <a:avLst>
            <a:gd name="adj" fmla="val 10000"/>
          </a:avLst>
        </a:prstGeom>
        <a:solidFill>
          <a:schemeClr val="lt1">
            <a:alpha val="90000"/>
            <a:hueOff val="0"/>
            <a:satOff val="0"/>
            <a:lumOff val="0"/>
            <a:alphaOff val="0"/>
          </a:schemeClr>
        </a:solidFill>
        <a:ln w="19050" cap="flat" cmpd="sng" algn="ctr">
          <a:solidFill>
            <a:srgbClr val="0070C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n-CA" sz="1200" b="0" kern="1200" dirty="0"/>
            <a:t>Set it too high, you can run into CPU issues (e.g., Thread starvation)</a:t>
          </a:r>
        </a:p>
      </dsp:txBody>
      <dsp:txXfrm>
        <a:off x="1628109" y="893100"/>
        <a:ext cx="2674398" cy="655268"/>
      </dsp:txXfrm>
    </dsp:sp>
    <dsp:sp modelId="{1A8C9C1A-D82F-4C3C-82AA-28A35E346404}">
      <dsp:nvSpPr>
        <dsp:cNvPr id="0" name=""/>
        <dsp:cNvSpPr/>
      </dsp:nvSpPr>
      <dsp:spPr>
        <a:xfrm>
          <a:off x="1253812" y="716105"/>
          <a:ext cx="353911" cy="1374679"/>
        </a:xfrm>
        <a:custGeom>
          <a:avLst/>
          <a:gdLst/>
          <a:ahLst/>
          <a:cxnLst/>
          <a:rect l="0" t="0" r="0" b="0"/>
          <a:pathLst>
            <a:path>
              <a:moveTo>
                <a:pt x="0" y="0"/>
              </a:moveTo>
              <a:lnTo>
                <a:pt x="0" y="1374679"/>
              </a:lnTo>
              <a:lnTo>
                <a:pt x="353911" y="1374679"/>
              </a:lnTo>
            </a:path>
          </a:pathLst>
        </a:custGeom>
        <a:noFill/>
        <a:ln w="19050" cap="flat" cmpd="sng" algn="ctr">
          <a:solidFill>
            <a:srgbClr val="0070C0"/>
          </a:solidFill>
          <a:prstDash val="solid"/>
          <a:miter lim="800000"/>
        </a:ln>
        <a:effectLst/>
      </dsp:spPr>
      <dsp:style>
        <a:lnRef idx="2">
          <a:scrgbClr r="0" g="0" b="0"/>
        </a:lnRef>
        <a:fillRef idx="0">
          <a:scrgbClr r="0" g="0" b="0"/>
        </a:fillRef>
        <a:effectRef idx="0">
          <a:scrgbClr r="0" g="0" b="0"/>
        </a:effectRef>
        <a:fontRef idx="minor"/>
      </dsp:style>
    </dsp:sp>
    <dsp:sp modelId="{AC3C8A14-1A26-404B-8C6B-433983E47BAA}">
      <dsp:nvSpPr>
        <dsp:cNvPr id="0" name=""/>
        <dsp:cNvSpPr/>
      </dsp:nvSpPr>
      <dsp:spPr>
        <a:xfrm>
          <a:off x="1607723" y="1742765"/>
          <a:ext cx="2715181" cy="696040"/>
        </a:xfrm>
        <a:prstGeom prst="roundRect">
          <a:avLst>
            <a:gd name="adj" fmla="val 10000"/>
          </a:avLst>
        </a:prstGeom>
        <a:solidFill>
          <a:schemeClr val="lt1">
            <a:alpha val="90000"/>
            <a:hueOff val="0"/>
            <a:satOff val="0"/>
            <a:lumOff val="0"/>
            <a:alphaOff val="0"/>
          </a:schemeClr>
        </a:solidFill>
        <a:ln w="19050" cap="flat" cmpd="sng" algn="ctr">
          <a:solidFill>
            <a:srgbClr val="0070C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n-CA" sz="1200" b="0" kern="1200" dirty="0"/>
            <a:t>Set it too low, you can miss out on performance benefits of parallelism</a:t>
          </a:r>
        </a:p>
      </dsp:txBody>
      <dsp:txXfrm>
        <a:off x="1628109" y="1763151"/>
        <a:ext cx="2674409" cy="655268"/>
      </dsp:txXfrm>
    </dsp:sp>
    <dsp:sp modelId="{7F44C466-02AA-4139-B733-9EC91F9C3104}">
      <dsp:nvSpPr>
        <dsp:cNvPr id="0" name=""/>
        <dsp:cNvSpPr/>
      </dsp:nvSpPr>
      <dsp:spPr>
        <a:xfrm>
          <a:off x="1253812" y="716105"/>
          <a:ext cx="353911" cy="2244730"/>
        </a:xfrm>
        <a:custGeom>
          <a:avLst/>
          <a:gdLst/>
          <a:ahLst/>
          <a:cxnLst/>
          <a:rect l="0" t="0" r="0" b="0"/>
          <a:pathLst>
            <a:path>
              <a:moveTo>
                <a:pt x="0" y="0"/>
              </a:moveTo>
              <a:lnTo>
                <a:pt x="0" y="2244730"/>
              </a:lnTo>
              <a:lnTo>
                <a:pt x="353911" y="2244730"/>
              </a:lnTo>
            </a:path>
          </a:pathLst>
        </a:custGeom>
        <a:noFill/>
        <a:ln w="19050" cap="flat" cmpd="sng" algn="ctr">
          <a:solidFill>
            <a:srgbClr val="0070C0"/>
          </a:solidFill>
          <a:prstDash val="solid"/>
          <a:miter lim="800000"/>
        </a:ln>
        <a:effectLst/>
      </dsp:spPr>
      <dsp:style>
        <a:lnRef idx="2">
          <a:scrgbClr r="0" g="0" b="0"/>
        </a:lnRef>
        <a:fillRef idx="0">
          <a:scrgbClr r="0" g="0" b="0"/>
        </a:fillRef>
        <a:effectRef idx="0">
          <a:scrgbClr r="0" g="0" b="0"/>
        </a:effectRef>
        <a:fontRef idx="minor"/>
      </dsp:style>
    </dsp:sp>
    <dsp:sp modelId="{42125C07-2499-45A4-9E86-62B5885ABD52}">
      <dsp:nvSpPr>
        <dsp:cNvPr id="0" name=""/>
        <dsp:cNvSpPr/>
      </dsp:nvSpPr>
      <dsp:spPr>
        <a:xfrm>
          <a:off x="1607723" y="2612815"/>
          <a:ext cx="2733824" cy="696040"/>
        </a:xfrm>
        <a:prstGeom prst="roundRect">
          <a:avLst>
            <a:gd name="adj" fmla="val 10000"/>
          </a:avLst>
        </a:prstGeom>
        <a:solidFill>
          <a:schemeClr val="lt1">
            <a:alpha val="90000"/>
            <a:hueOff val="0"/>
            <a:satOff val="0"/>
            <a:lumOff val="0"/>
            <a:alphaOff val="0"/>
          </a:schemeClr>
        </a:solidFill>
        <a:ln w="19050" cap="flat" cmpd="sng" algn="ctr">
          <a:solidFill>
            <a:srgbClr val="0070C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n-CA" sz="1200" b="0" kern="1200" dirty="0"/>
            <a:t>Reactive – would only be changed when there is a problem</a:t>
          </a:r>
        </a:p>
      </dsp:txBody>
      <dsp:txXfrm>
        <a:off x="1628109" y="2633201"/>
        <a:ext cx="2693052" cy="655268"/>
      </dsp:txXfrm>
    </dsp:sp>
    <dsp:sp modelId="{E6F16616-BD05-4F41-8811-84EED207C63C}">
      <dsp:nvSpPr>
        <dsp:cNvPr id="0" name=""/>
        <dsp:cNvSpPr/>
      </dsp:nvSpPr>
      <dsp:spPr>
        <a:xfrm>
          <a:off x="1253812" y="716105"/>
          <a:ext cx="353911" cy="3228879"/>
        </a:xfrm>
        <a:custGeom>
          <a:avLst/>
          <a:gdLst/>
          <a:ahLst/>
          <a:cxnLst/>
          <a:rect l="0" t="0" r="0" b="0"/>
          <a:pathLst>
            <a:path>
              <a:moveTo>
                <a:pt x="0" y="0"/>
              </a:moveTo>
              <a:lnTo>
                <a:pt x="0" y="3228879"/>
              </a:lnTo>
              <a:lnTo>
                <a:pt x="353911" y="3228879"/>
              </a:lnTo>
            </a:path>
          </a:pathLst>
        </a:custGeom>
        <a:noFill/>
        <a:ln w="19050" cap="flat" cmpd="sng" algn="ctr">
          <a:solidFill>
            <a:srgbClr val="0070C0"/>
          </a:solidFill>
          <a:prstDash val="solid"/>
          <a:miter lim="800000"/>
        </a:ln>
        <a:effectLst/>
      </dsp:spPr>
      <dsp:style>
        <a:lnRef idx="2">
          <a:scrgbClr r="0" g="0" b="0"/>
        </a:lnRef>
        <a:fillRef idx="0">
          <a:scrgbClr r="0" g="0" b="0"/>
        </a:fillRef>
        <a:effectRef idx="0">
          <a:scrgbClr r="0" g="0" b="0"/>
        </a:effectRef>
        <a:fontRef idx="minor"/>
      </dsp:style>
    </dsp:sp>
    <dsp:sp modelId="{C9C639ED-C577-410F-B9E4-654A7350B0BF}">
      <dsp:nvSpPr>
        <dsp:cNvPr id="0" name=""/>
        <dsp:cNvSpPr/>
      </dsp:nvSpPr>
      <dsp:spPr>
        <a:xfrm>
          <a:off x="1607723" y="3482866"/>
          <a:ext cx="2733824" cy="924237"/>
        </a:xfrm>
        <a:prstGeom prst="roundRect">
          <a:avLst>
            <a:gd name="adj" fmla="val 10000"/>
          </a:avLst>
        </a:prstGeom>
        <a:solidFill>
          <a:schemeClr val="lt1">
            <a:alpha val="90000"/>
            <a:hueOff val="0"/>
            <a:satOff val="0"/>
            <a:lumOff val="0"/>
            <a:alphaOff val="0"/>
          </a:schemeClr>
        </a:solidFill>
        <a:ln w="19050" cap="flat" cmpd="sng" algn="ctr">
          <a:solidFill>
            <a:srgbClr val="0070C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n-CA" sz="1200" b="0" kern="1200" dirty="0"/>
            <a:t>Determining optimal DOP for each query in the workload can be time-consuming and arduous; requires code-change</a:t>
          </a:r>
        </a:p>
      </dsp:txBody>
      <dsp:txXfrm>
        <a:off x="1634793" y="3509936"/>
        <a:ext cx="2679684" cy="8700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8F651-5060-4144-B98F-05E65B57D514}">
      <dsp:nvSpPr>
        <dsp:cNvPr id="0" name=""/>
        <dsp:cNvSpPr/>
      </dsp:nvSpPr>
      <dsp:spPr>
        <a:xfrm>
          <a:off x="0" y="66328"/>
          <a:ext cx="10363200" cy="49140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CA" sz="2000" kern="1200" dirty="0"/>
            <a:t>Query has been captured by Query Store</a:t>
          </a:r>
          <a:endParaRPr lang="en-US" sz="2000" kern="1200" dirty="0"/>
        </a:p>
      </dsp:txBody>
      <dsp:txXfrm>
        <a:off x="23988" y="90316"/>
        <a:ext cx="10315224" cy="443424"/>
      </dsp:txXfrm>
    </dsp:sp>
    <dsp:sp modelId="{B73DF1BB-43A5-41A8-966F-D54A8BF72FD0}">
      <dsp:nvSpPr>
        <dsp:cNvPr id="0" name=""/>
        <dsp:cNvSpPr/>
      </dsp:nvSpPr>
      <dsp:spPr>
        <a:xfrm>
          <a:off x="0" y="615328"/>
          <a:ext cx="10363200" cy="49140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CA" sz="2000" kern="1200"/>
            <a:t>Must be a successful execution</a:t>
          </a:r>
          <a:endParaRPr lang="en-US" sz="2000" kern="1200"/>
        </a:p>
      </dsp:txBody>
      <dsp:txXfrm>
        <a:off x="23988" y="639316"/>
        <a:ext cx="10315224" cy="443424"/>
      </dsp:txXfrm>
    </dsp:sp>
    <dsp:sp modelId="{75D66B14-30FE-46DB-85B1-69E9AE6446A4}">
      <dsp:nvSpPr>
        <dsp:cNvPr id="0" name=""/>
        <dsp:cNvSpPr/>
      </dsp:nvSpPr>
      <dsp:spPr>
        <a:xfrm>
          <a:off x="0" y="1164328"/>
          <a:ext cx="10363200" cy="49140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CA" sz="2000" kern="1200"/>
            <a:t>Not a system query</a:t>
          </a:r>
          <a:endParaRPr lang="en-US" sz="2000" kern="1200"/>
        </a:p>
      </dsp:txBody>
      <dsp:txXfrm>
        <a:off x="23988" y="1188316"/>
        <a:ext cx="10315224" cy="443424"/>
      </dsp:txXfrm>
    </dsp:sp>
    <dsp:sp modelId="{9D3363EC-0A1F-4B04-A75F-366C155C457C}">
      <dsp:nvSpPr>
        <dsp:cNvPr id="0" name=""/>
        <dsp:cNvSpPr/>
      </dsp:nvSpPr>
      <dsp:spPr>
        <a:xfrm>
          <a:off x="0" y="1713328"/>
          <a:ext cx="10363200" cy="49140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CA" sz="2000" kern="1200"/>
            <a:t>Only SELECT statements</a:t>
          </a:r>
          <a:endParaRPr lang="en-US" sz="2000" kern="1200"/>
        </a:p>
      </dsp:txBody>
      <dsp:txXfrm>
        <a:off x="23988" y="1737316"/>
        <a:ext cx="10315224" cy="443424"/>
      </dsp:txXfrm>
    </dsp:sp>
    <dsp:sp modelId="{8F0A9860-A321-4527-9123-AFBBECFC640D}">
      <dsp:nvSpPr>
        <dsp:cNvPr id="0" name=""/>
        <dsp:cNvSpPr/>
      </dsp:nvSpPr>
      <dsp:spPr>
        <a:xfrm>
          <a:off x="0" y="2262328"/>
          <a:ext cx="10363200" cy="49140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CA" sz="2000" kern="1200" dirty="0"/>
            <a:t>Doesn’t have a recompile or </a:t>
          </a:r>
          <a:r>
            <a:rPr lang="en-CA" sz="2000" kern="1200" dirty="0" err="1"/>
            <a:t>disable_dop_feedback</a:t>
          </a:r>
          <a:r>
            <a:rPr lang="en-CA" sz="2000" kern="1200" dirty="0"/>
            <a:t> hint</a:t>
          </a:r>
          <a:endParaRPr lang="en-US" sz="2000" kern="1200" dirty="0"/>
        </a:p>
      </dsp:txBody>
      <dsp:txXfrm>
        <a:off x="23988" y="2286316"/>
        <a:ext cx="10315224" cy="443424"/>
      </dsp:txXfrm>
    </dsp:sp>
    <dsp:sp modelId="{5E7AC221-938E-47A3-AC27-8984BDBCEFF4}">
      <dsp:nvSpPr>
        <dsp:cNvPr id="0" name=""/>
        <dsp:cNvSpPr/>
      </dsp:nvSpPr>
      <dsp:spPr>
        <a:xfrm>
          <a:off x="0" y="2811328"/>
          <a:ext cx="10363200" cy="49140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CA" sz="2000" kern="1200"/>
            <a:t>Query DOP &gt; 2 and &lt;= 128</a:t>
          </a:r>
          <a:endParaRPr lang="en-US" sz="2000" kern="1200"/>
        </a:p>
      </dsp:txBody>
      <dsp:txXfrm>
        <a:off x="23988" y="2835316"/>
        <a:ext cx="10315224" cy="443424"/>
      </dsp:txXfrm>
    </dsp:sp>
    <dsp:sp modelId="{1F0253D8-FA75-465F-A20B-97BD7C27AEFD}">
      <dsp:nvSpPr>
        <dsp:cNvPr id="0" name=""/>
        <dsp:cNvSpPr/>
      </dsp:nvSpPr>
      <dsp:spPr>
        <a:xfrm>
          <a:off x="0" y="3360328"/>
          <a:ext cx="10363200" cy="49140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CA" sz="2000" kern="1200"/>
            <a:t>“Adjusted” elapsed time &gt;= 10 secs.</a:t>
          </a:r>
          <a:endParaRPr lang="en-US" sz="2000" kern="1200"/>
        </a:p>
      </dsp:txBody>
      <dsp:txXfrm>
        <a:off x="23988" y="3384316"/>
        <a:ext cx="10315224" cy="443424"/>
      </dsp:txXfrm>
    </dsp:sp>
    <dsp:sp modelId="{B069CE02-4B1C-466E-8499-91689AA7EF65}">
      <dsp:nvSpPr>
        <dsp:cNvPr id="0" name=""/>
        <dsp:cNvSpPr/>
      </dsp:nvSpPr>
      <dsp:spPr>
        <a:xfrm>
          <a:off x="0" y="3909328"/>
          <a:ext cx="10363200" cy="49140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CA" sz="2000" kern="1200"/>
            <a:t>Only “fresh” queries (i.e., compiled or recompiled)</a:t>
          </a:r>
          <a:endParaRPr lang="en-US" sz="2000" kern="1200"/>
        </a:p>
      </dsp:txBody>
      <dsp:txXfrm>
        <a:off x="23988" y="3933316"/>
        <a:ext cx="10315224" cy="44342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46CFC1-8B8B-4EE2-AB49-637B8E0F0498}" type="datetimeFigureOut">
              <a:rPr lang="en-CA" smtClean="0"/>
              <a:t>2024-03-22</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31A6C0-21D9-4E4A-BF88-47A06DE8150E}" type="slidenum">
              <a:rPr lang="en-CA" smtClean="0"/>
              <a:t>‹#›</a:t>
            </a:fld>
            <a:endParaRPr lang="en-CA"/>
          </a:p>
        </p:txBody>
      </p:sp>
    </p:spTree>
    <p:extLst>
      <p:ext uri="{BB962C8B-B14F-4D97-AF65-F5344CB8AC3E}">
        <p14:creationId xmlns:p14="http://schemas.microsoft.com/office/powerpoint/2010/main" val="2819711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EF31A6C0-21D9-4E4A-BF88-47A06DE8150E}" type="slidenum">
              <a:rPr lang="en-CA" smtClean="0"/>
              <a:t>2</a:t>
            </a:fld>
            <a:endParaRPr lang="en-CA"/>
          </a:p>
        </p:txBody>
      </p:sp>
    </p:spTree>
    <p:extLst>
      <p:ext uri="{BB962C8B-B14F-4D97-AF65-F5344CB8AC3E}">
        <p14:creationId xmlns:p14="http://schemas.microsoft.com/office/powerpoint/2010/main" val="1593354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C05BF7-CE4B-4BC8-A676-A22D0F0782C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8371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3/22/2024 10:5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749457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solidFill>
                  <a:srgbClr val="231F21"/>
                </a:solidFill>
                <a:latin typeface="SabonLTStd-Roman"/>
              </a:rPr>
              <a:t>PRE-OPTIMIZATION: The fi </a:t>
            </a:r>
            <a:r>
              <a:rPr lang="en-US" sz="1800" b="0" i="0" u="none" strike="noStrike" baseline="0" dirty="0" err="1">
                <a:solidFill>
                  <a:srgbClr val="231F21"/>
                </a:solidFill>
                <a:latin typeface="SabonLTStd-Roman"/>
              </a:rPr>
              <a:t>rst</a:t>
            </a:r>
            <a:r>
              <a:rPr lang="en-US" sz="1800" b="0" i="0" u="none" strike="noStrike" baseline="0" dirty="0">
                <a:solidFill>
                  <a:srgbClr val="231F21"/>
                </a:solidFill>
                <a:latin typeface="SabonLTStd-Roman"/>
              </a:rPr>
              <a:t> stage is known as </a:t>
            </a:r>
            <a:r>
              <a:rPr lang="en-US" sz="1800" b="0" i="1" u="none" strike="noStrike" baseline="0" dirty="0">
                <a:solidFill>
                  <a:srgbClr val="231F21"/>
                </a:solidFill>
                <a:latin typeface="SabonLTStd-Italic"/>
              </a:rPr>
              <a:t>pre-optimization</a:t>
            </a:r>
            <a:r>
              <a:rPr lang="en-US" sz="1800" b="0" i="0" u="none" strike="noStrike" baseline="0" dirty="0">
                <a:solidFill>
                  <a:srgbClr val="231F21"/>
                </a:solidFill>
                <a:latin typeface="SabonLTStd-Roman"/>
              </a:rPr>
              <a:t>, and queries drop out of the process at this stage</a:t>
            </a:r>
          </a:p>
          <a:p>
            <a:pPr algn="l"/>
            <a:r>
              <a:rPr lang="en-US" sz="1800" b="0" i="0" u="none" strike="noStrike" baseline="0" dirty="0">
                <a:solidFill>
                  <a:srgbClr val="231F21"/>
                </a:solidFill>
                <a:latin typeface="SabonLTStd-Roman"/>
              </a:rPr>
              <a:t>when the statement is simple enough that there can only be one optimal plan, removing the need for</a:t>
            </a:r>
          </a:p>
          <a:p>
            <a:pPr algn="l"/>
            <a:r>
              <a:rPr lang="en-US" sz="1800" b="0" i="0" u="none" strike="noStrike" baseline="0" dirty="0">
                <a:solidFill>
                  <a:srgbClr val="231F21"/>
                </a:solidFill>
                <a:latin typeface="SabonLTStd-Roman"/>
              </a:rPr>
              <a:t>additional costing. Basic queries with no joins are regarded as “simple,” and plans produced as such</a:t>
            </a:r>
          </a:p>
          <a:p>
            <a:pPr algn="l"/>
            <a:r>
              <a:rPr lang="en-US" sz="1800" b="0" i="0" u="none" strike="noStrike" baseline="0" dirty="0">
                <a:solidFill>
                  <a:srgbClr val="231F21"/>
                </a:solidFill>
                <a:latin typeface="SabonLTStd-Roman"/>
              </a:rPr>
              <a:t>have zero cost (because they haven’t been costed) and are referred to as </a:t>
            </a:r>
            <a:r>
              <a:rPr lang="en-US" sz="1800" b="0" i="1" u="none" strike="noStrike" baseline="0" dirty="0">
                <a:solidFill>
                  <a:srgbClr val="231F21"/>
                </a:solidFill>
                <a:latin typeface="SabonLTStd-Italic"/>
              </a:rPr>
              <a:t>trivial plans.</a:t>
            </a:r>
            <a:endParaRPr lang="en-US" sz="1800" b="1" i="0" u="none" strike="noStrike" baseline="0" dirty="0">
              <a:solidFill>
                <a:srgbClr val="231F21"/>
              </a:solidFill>
              <a:latin typeface="SabonLTStd-Bold"/>
            </a:endParaRPr>
          </a:p>
          <a:p>
            <a:pPr algn="l"/>
            <a:endParaRPr lang="en-US" sz="1800" b="1" i="0" u="none" strike="noStrike" baseline="0" dirty="0">
              <a:solidFill>
                <a:srgbClr val="231F21"/>
              </a:solidFill>
              <a:latin typeface="SabonLTStd-Bold"/>
            </a:endParaRPr>
          </a:p>
          <a:p>
            <a:pPr algn="l"/>
            <a:r>
              <a:rPr lang="en-US" sz="1800" b="1" i="0" u="none" strike="noStrike" baseline="0" dirty="0">
                <a:solidFill>
                  <a:srgbClr val="231F21"/>
                </a:solidFill>
                <a:latin typeface="SabonLTStd-Bold"/>
              </a:rPr>
              <a:t>Phase 0 — </a:t>
            </a:r>
            <a:r>
              <a:rPr lang="en-US" sz="1800" b="0" i="0" u="none" strike="noStrike" baseline="0" dirty="0">
                <a:solidFill>
                  <a:srgbClr val="231F21"/>
                </a:solidFill>
                <a:latin typeface="SabonLTStd-Roman"/>
              </a:rPr>
              <a:t>During this phase the optimizer looks at nested loop joins and won’t consider parallel operators</a:t>
            </a:r>
            <a:r>
              <a:rPr lang="en-CA" sz="1800" b="0" i="0" u="none" strike="noStrike" baseline="0" dirty="0">
                <a:solidFill>
                  <a:srgbClr val="231F21"/>
                </a:solidFill>
                <a:latin typeface="SabonLTStd-Roman"/>
              </a:rPr>
              <a:t>. </a:t>
            </a:r>
          </a:p>
          <a:p>
            <a:pPr algn="l"/>
            <a:r>
              <a:rPr lang="en-US" sz="1800" b="0" i="0" u="none" strike="noStrike" baseline="0" dirty="0">
                <a:solidFill>
                  <a:srgbClr val="231F21"/>
                </a:solidFill>
                <a:latin typeface="SabonLTStd-Roman"/>
              </a:rPr>
              <a:t>The optimizer will stop here if the cost of the plan it has found is &lt; 0.2. A plan generated at this phase is known as a </a:t>
            </a:r>
            <a:r>
              <a:rPr lang="en-US" sz="1800" b="0" i="1" u="none" strike="noStrike" baseline="0" dirty="0">
                <a:solidFill>
                  <a:srgbClr val="231F21"/>
                </a:solidFill>
                <a:latin typeface="SabonLTStd-Italic"/>
              </a:rPr>
              <a:t>transaction processing</a:t>
            </a:r>
            <a:r>
              <a:rPr lang="en-US" sz="1800" b="0" i="0" u="none" strike="noStrike" baseline="0" dirty="0">
                <a:solidFill>
                  <a:srgbClr val="231F21"/>
                </a:solidFill>
                <a:latin typeface="SabonLTStd-Roman"/>
              </a:rPr>
              <a:t>, or </a:t>
            </a:r>
            <a:r>
              <a:rPr lang="en-US" sz="1800" b="0" i="1" u="none" strike="noStrike" baseline="0" dirty="0">
                <a:solidFill>
                  <a:srgbClr val="231F21"/>
                </a:solidFill>
                <a:latin typeface="SabonLTStd-Italic"/>
              </a:rPr>
              <a:t>TP</a:t>
            </a:r>
            <a:r>
              <a:rPr lang="en-US" sz="1800" b="0" i="0" u="none" strike="noStrike" baseline="0" dirty="0">
                <a:solidFill>
                  <a:srgbClr val="231F21"/>
                </a:solidFill>
                <a:latin typeface="SabonLTStd-Roman"/>
              </a:rPr>
              <a:t>, plan.</a:t>
            </a:r>
            <a:endParaRPr lang="en-CA" sz="1800" b="0" i="0" u="none" strike="noStrike" baseline="0" dirty="0">
              <a:solidFill>
                <a:srgbClr val="231F21"/>
              </a:solidFill>
              <a:latin typeface="SabonLTStd-Roman"/>
            </a:endParaRPr>
          </a:p>
          <a:p>
            <a:pPr algn="l"/>
            <a:endParaRPr lang="en-CA" sz="1800" b="0" i="0" u="none" strike="noStrike" baseline="0" dirty="0">
              <a:solidFill>
                <a:srgbClr val="231F21"/>
              </a:solidFill>
              <a:latin typeface="SabonLTStd-Roman"/>
            </a:endParaRPr>
          </a:p>
          <a:p>
            <a:pPr algn="l"/>
            <a:r>
              <a:rPr lang="en-US" sz="1800" b="1" i="0" u="none" strike="noStrike" baseline="0" dirty="0">
                <a:solidFill>
                  <a:srgbClr val="231F21"/>
                </a:solidFill>
                <a:latin typeface="SabonLTStd-Bold"/>
              </a:rPr>
              <a:t>Phase 1 — </a:t>
            </a:r>
            <a:r>
              <a:rPr lang="en-US" sz="1800" b="0" i="0" u="none" strike="noStrike" baseline="0" dirty="0">
                <a:solidFill>
                  <a:srgbClr val="231F21"/>
                </a:solidFill>
                <a:latin typeface="SabonLTStd-Roman"/>
              </a:rPr>
              <a:t>Phase 1 uses a subset of the possible optimization rules and looks for common patterns for which it already has a plan. </a:t>
            </a:r>
          </a:p>
          <a:p>
            <a:pPr algn="l"/>
            <a:r>
              <a:rPr lang="en-US" sz="1800" b="0" i="0" u="none" strike="noStrike" baseline="0" dirty="0">
                <a:solidFill>
                  <a:srgbClr val="231F21"/>
                </a:solidFill>
                <a:latin typeface="SabonLTStd-Roman"/>
              </a:rPr>
              <a:t>The optimizer will stop here if the cost of the plan it has found is &lt; 1.0. Plans generated in this phase are called </a:t>
            </a:r>
            <a:r>
              <a:rPr lang="en-US" sz="1800" b="0" i="1" u="none" strike="noStrike" baseline="0" dirty="0">
                <a:solidFill>
                  <a:srgbClr val="231F21"/>
                </a:solidFill>
                <a:latin typeface="SabonLTStd-Italic"/>
              </a:rPr>
              <a:t>quick plans.</a:t>
            </a:r>
          </a:p>
          <a:p>
            <a:pPr algn="l"/>
            <a:r>
              <a:rPr lang="en-US" sz="1800" b="0" i="0" u="none" strike="noStrike" baseline="0" dirty="0">
                <a:solidFill>
                  <a:srgbClr val="231F21"/>
                </a:solidFill>
                <a:latin typeface="SabonLTStd-Italic"/>
              </a:rPr>
              <a:t>This is where the Optimizer considers parallel plan by comparing the cost of a serial plan vs. CTFP.</a:t>
            </a:r>
          </a:p>
          <a:p>
            <a:pPr algn="l"/>
            <a:endParaRPr lang="en-US" sz="1800" b="0" i="0" u="none" strike="noStrike" baseline="0" dirty="0">
              <a:solidFill>
                <a:srgbClr val="231F21"/>
              </a:solidFill>
              <a:latin typeface="SabonLTStd-Roman"/>
            </a:endParaRPr>
          </a:p>
          <a:p>
            <a:pPr algn="l"/>
            <a:r>
              <a:rPr lang="en-US" sz="1800" b="1" i="0" u="none" strike="noStrike" baseline="0" dirty="0">
                <a:solidFill>
                  <a:srgbClr val="231F21"/>
                </a:solidFill>
                <a:latin typeface="SabonLTStd-Bold"/>
              </a:rPr>
              <a:t>Phase 2 — </a:t>
            </a:r>
            <a:r>
              <a:rPr lang="en-US" sz="1800" b="0" i="0" u="none" strike="noStrike" baseline="0" dirty="0">
                <a:solidFill>
                  <a:srgbClr val="231F21"/>
                </a:solidFill>
                <a:latin typeface="SabonLTStd-Roman"/>
              </a:rPr>
              <a:t>This final phase is where the optimizer pulls out all the stops and is able to use all of its optimization rules. It also looks at parallelism and indexed views (if you’re running </a:t>
            </a:r>
            <a:r>
              <a:rPr lang="en-CA" sz="1800" b="0" i="0" u="none" strike="noStrike" baseline="0" dirty="0">
                <a:solidFill>
                  <a:srgbClr val="231F21"/>
                </a:solidFill>
                <a:latin typeface="SabonLTStd-Roman"/>
              </a:rPr>
              <a:t>Enterprise Edition).</a:t>
            </a:r>
          </a:p>
          <a:p>
            <a:pPr algn="l"/>
            <a:r>
              <a:rPr lang="en-US" sz="1800" b="0" i="0" u="none" strike="noStrike" baseline="0" dirty="0">
                <a:solidFill>
                  <a:srgbClr val="231F21"/>
                </a:solidFill>
                <a:latin typeface="SabonLTStd-Roman"/>
              </a:rPr>
              <a:t>Completion of Phase 2 is a balance between the cost of the plan found versus the time spent optimizing. </a:t>
            </a:r>
          </a:p>
          <a:p>
            <a:pPr algn="l"/>
            <a:r>
              <a:rPr lang="en-US" sz="1800" b="0" i="0" u="none" strike="noStrike" baseline="0" dirty="0">
                <a:solidFill>
                  <a:srgbClr val="231F21"/>
                </a:solidFill>
                <a:latin typeface="SabonLTStd-Roman"/>
              </a:rPr>
              <a:t>Plans created in this phase have an optimization level of “Full.”</a:t>
            </a:r>
          </a:p>
        </p:txBody>
      </p:sp>
      <p:sp>
        <p:nvSpPr>
          <p:cNvPr id="4" name="Slide Number Placeholder 3"/>
          <p:cNvSpPr>
            <a:spLocks noGrp="1"/>
          </p:cNvSpPr>
          <p:nvPr>
            <p:ph type="sldNum" sz="quarter" idx="5"/>
          </p:nvPr>
        </p:nvSpPr>
        <p:spPr/>
        <p:txBody>
          <a:bodyPr/>
          <a:lstStyle/>
          <a:p>
            <a:fld id="{EF31A6C0-21D9-4E4A-BF88-47A06DE8150E}" type="slidenum">
              <a:rPr lang="en-CA" smtClean="0"/>
              <a:t>3</a:t>
            </a:fld>
            <a:endParaRPr lang="en-CA"/>
          </a:p>
        </p:txBody>
      </p:sp>
    </p:spTree>
    <p:extLst>
      <p:ext uri="{BB962C8B-B14F-4D97-AF65-F5344CB8AC3E}">
        <p14:creationId xmlns:p14="http://schemas.microsoft.com/office/powerpoint/2010/main" val="320300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EF31A6C0-21D9-4E4A-BF88-47A06DE8150E}" type="slidenum">
              <a:rPr lang="en-CA" smtClean="0"/>
              <a:t>4</a:t>
            </a:fld>
            <a:endParaRPr lang="en-CA"/>
          </a:p>
        </p:txBody>
      </p:sp>
    </p:spTree>
    <p:extLst>
      <p:ext uri="{BB962C8B-B14F-4D97-AF65-F5344CB8AC3E}">
        <p14:creationId xmlns:p14="http://schemas.microsoft.com/office/powerpoint/2010/main" val="3447813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EF31A6C0-21D9-4E4A-BF88-47A06DE8150E}" type="slidenum">
              <a:rPr lang="en-CA" smtClean="0"/>
              <a:t>5</a:t>
            </a:fld>
            <a:endParaRPr lang="en-CA"/>
          </a:p>
        </p:txBody>
      </p:sp>
    </p:spTree>
    <p:extLst>
      <p:ext uri="{BB962C8B-B14F-4D97-AF65-F5344CB8AC3E}">
        <p14:creationId xmlns:p14="http://schemas.microsoft.com/office/powerpoint/2010/main" val="2853350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EF31A6C0-21D9-4E4A-BF88-47A06DE8150E}" type="slidenum">
              <a:rPr lang="en-CA" smtClean="0"/>
              <a:t>8</a:t>
            </a:fld>
            <a:endParaRPr lang="en-CA"/>
          </a:p>
        </p:txBody>
      </p:sp>
    </p:spTree>
    <p:extLst>
      <p:ext uri="{BB962C8B-B14F-4D97-AF65-F5344CB8AC3E}">
        <p14:creationId xmlns:p14="http://schemas.microsoft.com/office/powerpoint/2010/main" val="14086273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EF31A6C0-21D9-4E4A-BF88-47A06DE8150E}" type="slidenum">
              <a:rPr lang="en-CA" smtClean="0"/>
              <a:t>9</a:t>
            </a:fld>
            <a:endParaRPr lang="en-CA"/>
          </a:p>
        </p:txBody>
      </p:sp>
    </p:spTree>
    <p:extLst>
      <p:ext uri="{BB962C8B-B14F-4D97-AF65-F5344CB8AC3E}">
        <p14:creationId xmlns:p14="http://schemas.microsoft.com/office/powerpoint/2010/main" val="2591047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ts between RG and Thread Availability”</a:t>
            </a:r>
          </a:p>
          <a:p>
            <a:pPr marL="171450" indent="-171450">
              <a:buFontTx/>
              <a:buChar char="-"/>
            </a:pPr>
            <a:r>
              <a:rPr lang="en-US" dirty="0"/>
              <a:t>Priority order of how SQL currently implements DOP</a:t>
            </a:r>
          </a:p>
          <a:p>
            <a:pPr marL="171450" indent="-171450">
              <a:buFontTx/>
              <a:buChar char="-"/>
            </a:pPr>
            <a:r>
              <a:rPr lang="en-US" dirty="0"/>
              <a:t>If you’ll notice, all the existing methods are plan specific but system level configurations.</a:t>
            </a:r>
          </a:p>
          <a:p>
            <a:pPr marL="628650" lvl="1" indent="-171450">
              <a:buFontTx/>
              <a:buChar char="-"/>
            </a:pPr>
            <a:r>
              <a:rPr lang="en-US" dirty="0"/>
              <a:t>This means one DOP for all queries</a:t>
            </a:r>
          </a:p>
          <a:p>
            <a:pPr marL="628650" lvl="1" indent="-171450">
              <a:buFontTx/>
              <a:buChar char="-"/>
            </a:pPr>
            <a:r>
              <a:rPr lang="en-US" dirty="0"/>
              <a:t>Not ideal since some queries may benefit from large DOP values while some do not need as much</a:t>
            </a:r>
          </a:p>
          <a:p>
            <a:pPr marL="628650" lvl="1" indent="-171450">
              <a:buFontTx/>
              <a:buChar char="-"/>
            </a:pPr>
            <a:r>
              <a:rPr lang="en-US" dirty="0"/>
              <a:t>This is where DOP feedback comes in. It offers the most </a:t>
            </a:r>
            <a:r>
              <a:rPr lang="en-US" u="sng" dirty="0"/>
              <a:t>granular</a:t>
            </a:r>
            <a:r>
              <a:rPr lang="en-US" dirty="0"/>
              <a:t> way of controlling DOP – at the plan level.</a:t>
            </a:r>
          </a:p>
          <a:p>
            <a:pPr marL="171450" lvl="0" indent="-171450">
              <a:buFontTx/>
              <a:buChar char="-"/>
            </a:pPr>
            <a:r>
              <a:rPr lang="en-US" dirty="0"/>
              <a:t>DOP feedback is still dependent on available thread</a:t>
            </a:r>
          </a:p>
          <a:p>
            <a:pPr marL="628650" lvl="1" indent="-171450">
              <a:buFontTx/>
              <a:buChar char="-"/>
            </a:pPr>
            <a:r>
              <a:rPr lang="en-US" dirty="0"/>
              <a:t>DOP feedback will not go beyond what’s available and cause thread starvation</a:t>
            </a:r>
          </a:p>
          <a:p>
            <a:pPr marL="628650" lvl="1" indent="-171450">
              <a:buFontTx/>
              <a:buChar char="-"/>
            </a:pPr>
            <a:endParaRPr lang="en-US" dirty="0"/>
          </a:p>
          <a:p>
            <a:pPr marL="0" lvl="0" indent="0">
              <a:buFontTx/>
              <a:buNone/>
            </a:pPr>
            <a:r>
              <a:rPr lang="en-US" dirty="0"/>
              <a:t>“It works at the Plan-level”</a:t>
            </a:r>
          </a:p>
          <a:p>
            <a:pPr marL="171450" lvl="0" indent="-171450">
              <a:buFontTx/>
              <a:buChar char="-"/>
            </a:pPr>
            <a:r>
              <a:rPr lang="en-US" dirty="0"/>
              <a:t>If you have a query that generates multiple plans (e.g. non-parameterized query), DOP feedback will be provided for each query plan, despite them being based on the same query.</a:t>
            </a:r>
          </a:p>
          <a:p>
            <a:pPr marL="171450" lvl="0" indent="-171450">
              <a:buFontTx/>
              <a:buChar char="-"/>
            </a:pPr>
            <a:endParaRPr lang="en-US" dirty="0"/>
          </a:p>
          <a:p>
            <a:pPr marL="0" lvl="0" indent="0">
              <a:buFontTx/>
              <a:buNone/>
            </a:pPr>
            <a:r>
              <a:rPr lang="en-US" dirty="0"/>
              <a:t>“Iterative and Incremental”</a:t>
            </a:r>
          </a:p>
          <a:p>
            <a:pPr marL="171450" lvl="0" indent="-171450">
              <a:buFontTx/>
              <a:buChar char="-"/>
            </a:pPr>
            <a:r>
              <a:rPr lang="en-US" dirty="0"/>
              <a:t>ITERATIVE: Provides feedback repeatedly until the optimal DOP is determined</a:t>
            </a:r>
          </a:p>
          <a:p>
            <a:pPr marL="171450" lvl="0" indent="-171450">
              <a:buFontTx/>
              <a:buChar char="-"/>
            </a:pPr>
            <a:r>
              <a:rPr lang="en-US" dirty="0"/>
              <a:t>INCREMENTAL: Reduces (never increases) DOP in a </a:t>
            </a:r>
            <a:r>
              <a:rPr lang="en-US" u="sng" dirty="0"/>
              <a:t>stepwise</a:t>
            </a:r>
            <a:r>
              <a:rPr lang="en-US" dirty="0"/>
              <a:t> or </a:t>
            </a:r>
            <a:r>
              <a:rPr lang="en-US" u="sng" dirty="0"/>
              <a:t>incremental</a:t>
            </a:r>
            <a:r>
              <a:rPr lang="en-US" dirty="0"/>
              <a:t> fashion</a:t>
            </a:r>
          </a:p>
          <a:p>
            <a:pPr marL="171450" lvl="0" indent="-171450">
              <a:buFontTx/>
              <a:buChar char="-"/>
            </a:pPr>
            <a:endParaRPr lang="en-US" dirty="0"/>
          </a:p>
          <a:p>
            <a:pPr marL="0" lvl="0" indent="0">
              <a:buFontTx/>
              <a:buNone/>
            </a:pPr>
            <a:r>
              <a:rPr lang="en-US" dirty="0"/>
              <a:t>“Uses a pre-defined DOP array”</a:t>
            </a:r>
          </a:p>
          <a:p>
            <a:pPr marL="0" lvl="0" indent="0">
              <a:buFontTx/>
              <a:buNone/>
            </a:pPr>
            <a:r>
              <a:rPr lang="en-US" dirty="0"/>
              <a:t>- This method is to avoid too many iterations due to too many DOP incremental values. For example, if current/default DOP is 32 and optimal is 8, you don’t want SQL to iterate starting with 32, then 31, 30, 29, and so on.</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C05BF7-CE4B-4BC8-A676-A22D0F0782C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7348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dirty="0"/>
              <a:t>PHASE 1: Eligibility check</a:t>
            </a:r>
          </a:p>
          <a:p>
            <a:pPr marL="0" indent="0">
              <a:buNone/>
            </a:pPr>
            <a:r>
              <a:rPr lang="en-CA" dirty="0"/>
              <a:t>- See eligibility criteria in next slide</a:t>
            </a:r>
          </a:p>
          <a:p>
            <a:pPr marL="228600" indent="-228600">
              <a:buAutoNum type="arabicPeriod"/>
            </a:pPr>
            <a:endParaRPr lang="en-CA" dirty="0"/>
          </a:p>
          <a:p>
            <a:pPr marL="0" indent="0">
              <a:buNone/>
            </a:pPr>
            <a:r>
              <a:rPr lang="en-CA" dirty="0"/>
              <a:t>PHASE 2: Analyze/Aggregate stats</a:t>
            </a:r>
          </a:p>
          <a:p>
            <a:pPr marL="171450" indent="-171450">
              <a:buFontTx/>
              <a:buChar char="-"/>
            </a:pPr>
            <a:r>
              <a:rPr lang="en-CA" dirty="0"/>
              <a:t>STATS = Query execution stats: CPU Time, elapsed time)</a:t>
            </a:r>
          </a:p>
          <a:p>
            <a:pPr marL="171450" indent="-171450">
              <a:buFontTx/>
              <a:buChar char="-"/>
            </a:pPr>
            <a:r>
              <a:rPr lang="en-CA" dirty="0"/>
              <a:t>Query needs to run at least 15 times to trigger a feedback</a:t>
            </a:r>
          </a:p>
          <a:p>
            <a:pPr marL="628650" lvl="1" indent="-171450">
              <a:buFontTx/>
              <a:buChar char="-"/>
            </a:pPr>
            <a:r>
              <a:rPr lang="en-CA" dirty="0"/>
              <a:t>There might be times when DOP Feedback would require more than 15 executions if it involves transient and interrupted executions</a:t>
            </a:r>
          </a:p>
          <a:p>
            <a:pPr marL="171450" indent="-171450">
              <a:buFontTx/>
              <a:buChar char="-"/>
            </a:pPr>
            <a:r>
              <a:rPr lang="en-CA" dirty="0"/>
              <a:t>Stats are aggregated (standard deviations and averages are calculated)</a:t>
            </a:r>
          </a:p>
          <a:p>
            <a:pPr marL="171450" indent="-171450">
              <a:buFontTx/>
              <a:buChar char="-"/>
            </a:pPr>
            <a:r>
              <a:rPr lang="en-CA" dirty="0"/>
              <a:t>This is necessary because the stats can vary per execution of the same query</a:t>
            </a:r>
          </a:p>
          <a:p>
            <a:pPr marL="0" lvl="0" indent="0">
              <a:buFontTx/>
              <a:buNone/>
            </a:pPr>
            <a:endParaRPr lang="en-CA" dirty="0"/>
          </a:p>
          <a:p>
            <a:pPr marL="0" lvl="0" indent="0">
              <a:buFontTx/>
              <a:buNone/>
            </a:pPr>
            <a:r>
              <a:rPr lang="en-CA" dirty="0"/>
              <a:t>PHASE 3: Provide first Feedback</a:t>
            </a:r>
          </a:p>
          <a:p>
            <a:pPr marL="171450" lvl="0" indent="-171450">
              <a:buFontTx/>
              <a:buChar char="-"/>
            </a:pPr>
            <a:r>
              <a:rPr lang="en-CA" dirty="0"/>
              <a:t>At this stage, query will run with the new DOP</a:t>
            </a:r>
          </a:p>
          <a:p>
            <a:pPr marL="171450" lvl="0" indent="-171450">
              <a:buFontTx/>
              <a:buChar char="-"/>
            </a:pPr>
            <a:r>
              <a:rPr lang="en-CA" dirty="0"/>
              <a:t>SQL will let the query run 15 times</a:t>
            </a:r>
          </a:p>
          <a:p>
            <a:pPr marL="171450" lvl="0" indent="-171450">
              <a:buFontTx/>
              <a:buChar char="-"/>
            </a:pPr>
            <a:r>
              <a:rPr lang="en-CA" dirty="0"/>
              <a:t>Stats aggregation and analysis will once again take place and result will be compared to the baseline stats (collected on Phase #2)</a:t>
            </a:r>
          </a:p>
          <a:p>
            <a:pPr marL="171450" lvl="0" indent="-171450">
              <a:buFontTx/>
              <a:buChar char="-"/>
            </a:pPr>
            <a:r>
              <a:rPr lang="en-CA" dirty="0"/>
              <a:t>If result shows improved performance, it will consider VALIDATON = PASSED</a:t>
            </a:r>
          </a:p>
          <a:p>
            <a:pPr marL="171450" lvl="0" indent="-171450">
              <a:buFontTx/>
              <a:buChar char="-"/>
            </a:pPr>
            <a:r>
              <a:rPr lang="en-CA" dirty="0"/>
              <a:t>It will the go back to Phase: 2, but DOP Feedback engine will no longer wait for 15 executions to provide the </a:t>
            </a:r>
            <a:r>
              <a:rPr lang="en-CA" u="sng" dirty="0"/>
              <a:t>next incremental</a:t>
            </a:r>
            <a:r>
              <a:rPr lang="en-CA" u="none" dirty="0"/>
              <a:t> feedback</a:t>
            </a:r>
          </a:p>
          <a:p>
            <a:pPr marL="171450" lvl="0" indent="-171450">
              <a:buFontTx/>
              <a:buChar char="-"/>
            </a:pPr>
            <a:endParaRPr lang="en-CA" u="none" dirty="0"/>
          </a:p>
          <a:p>
            <a:pPr marL="171450" lvl="0" indent="-171450">
              <a:buFontTx/>
              <a:buChar char="-"/>
            </a:pPr>
            <a:r>
              <a:rPr lang="en-CA" u="none" dirty="0"/>
              <a:t>This iterative process will continue until there is “VALIDATION FAILED”, which means the DOP value no longer leads to an improvement or may have led to a regression.</a:t>
            </a:r>
          </a:p>
          <a:p>
            <a:pPr marL="171450" lvl="0" indent="-171450">
              <a:buFontTx/>
              <a:buChar char="-"/>
            </a:pPr>
            <a:r>
              <a:rPr lang="en-CA" u="none" dirty="0"/>
              <a:t>Whatever DOP value that is, will be chosen as the “stable” DOP</a:t>
            </a:r>
          </a:p>
          <a:p>
            <a:pPr marL="171450" lvl="0" indent="-171450">
              <a:buFontTx/>
              <a:buChar char="-"/>
            </a:pPr>
            <a:r>
              <a:rPr lang="en-CA" u="none" dirty="0"/>
              <a:t>The iterative process will stop at this point and move to the “Stable” state</a:t>
            </a:r>
          </a:p>
          <a:p>
            <a:pPr marL="171450" lvl="0" indent="-171450">
              <a:buFontTx/>
              <a:buChar char="-"/>
            </a:pPr>
            <a:endParaRPr lang="en-CA" u="none" dirty="0"/>
          </a:p>
          <a:p>
            <a:pPr marL="0" lvl="0" indent="0">
              <a:buFontTx/>
              <a:buNone/>
            </a:pPr>
            <a:r>
              <a:rPr lang="en-CA" u="none" dirty="0"/>
              <a:t>“Analysis Stopped”</a:t>
            </a:r>
          </a:p>
          <a:p>
            <a:pPr marL="171450" lvl="0" indent="-171450">
              <a:buFontTx/>
              <a:buChar char="-"/>
            </a:pPr>
            <a:r>
              <a:rPr lang="en-CA" u="none" dirty="0"/>
              <a:t>Can happen when there is a need to throttle DOP (e.g., when server is under CPU pressure or there is thread starvation)</a:t>
            </a:r>
          </a:p>
          <a:p>
            <a:pPr marL="171450" lvl="0" indent="-171450">
              <a:buFontTx/>
              <a:buChar char="-"/>
            </a:pPr>
            <a:r>
              <a:rPr lang="en-CA" u="none" dirty="0"/>
              <a:t>Can happen when there is high variance in the std dev across the 15 executions (&gt;= 20% of avg.). In that case, DOP Feedback would not be able to confidently recommend an optimal DOP setting.</a:t>
            </a:r>
          </a:p>
          <a:p>
            <a:pPr marL="171450" lvl="0" indent="-171450">
              <a:buFontTx/>
              <a:buChar char="-"/>
            </a:pPr>
            <a:r>
              <a:rPr lang="en-CA" u="none" dirty="0"/>
              <a:t>Can happen when there is already “High Parallelism Efficiency”. Meaning, current DOP is already </a:t>
            </a:r>
            <a:r>
              <a:rPr lang="en-CA" u="none" dirty="0" err="1"/>
              <a:t>optimial</a:t>
            </a:r>
            <a:r>
              <a:rPr lang="en-CA" u="none" dirty="0"/>
              <a:t>.</a:t>
            </a:r>
          </a:p>
          <a:p>
            <a:pPr marL="171450" lvl="0" indent="-171450">
              <a:buFontTx/>
              <a:buChar char="-"/>
            </a:pPr>
            <a:r>
              <a:rPr lang="en-CA" u="none" dirty="0"/>
              <a:t>This is checked during the first Analysis (Phase 1), which means it can be considered as an eligibility criteria.</a:t>
            </a:r>
          </a:p>
          <a:p>
            <a:pPr marL="628650" lvl="1" indent="-171450">
              <a:buFontTx/>
              <a:buChar char="-"/>
            </a:pPr>
            <a:r>
              <a:rPr lang="en-CA" u="none" dirty="0"/>
              <a:t>Parallelism Efficiency = The lowest DOP to achieve the same query duration</a:t>
            </a:r>
          </a:p>
          <a:p>
            <a:pPr marL="628650" lvl="1" indent="-171450">
              <a:buFontTx/>
              <a:buChar char="-"/>
            </a:pPr>
            <a:r>
              <a:rPr lang="en-CA" u="none" dirty="0"/>
              <a:t>Parallelism Efficiency = </a:t>
            </a:r>
            <a:r>
              <a:rPr lang="en-CA" u="none" dirty="0" err="1"/>
              <a:t>CPU_time</a:t>
            </a:r>
            <a:r>
              <a:rPr lang="en-CA" u="none" dirty="0"/>
              <a:t> / </a:t>
            </a:r>
            <a:r>
              <a:rPr lang="en-CA" u="none" dirty="0" err="1"/>
              <a:t>Adj_Elapsed_Time</a:t>
            </a:r>
            <a:r>
              <a:rPr lang="en-CA" u="none" dirty="0"/>
              <a:t> * DOP</a:t>
            </a:r>
          </a:p>
          <a:p>
            <a:pPr marL="628650" lvl="1" indent="-171450">
              <a:buFontTx/>
              <a:buChar char="-"/>
            </a:pPr>
            <a:r>
              <a:rPr lang="en-CA" u="none" dirty="0"/>
              <a:t>Arbitrary threshold is .7</a:t>
            </a:r>
          </a:p>
          <a:p>
            <a:pPr marL="628650" lvl="1" indent="-171450">
              <a:buFontTx/>
              <a:buChar char="-"/>
            </a:pPr>
            <a:endParaRPr lang="en-CA" u="none" dirty="0"/>
          </a:p>
          <a:p>
            <a:pPr marL="628650" lvl="1" indent="-171450">
              <a:buFontTx/>
              <a:buChar char="-"/>
            </a:pPr>
            <a:endParaRPr lang="en-CA"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C05BF7-CE4B-4BC8-A676-A22D0F0782C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0280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Only queries captured or stored in QDS are eligible</a:t>
            </a:r>
          </a:p>
          <a:p>
            <a:pPr marL="171450" indent="-171450">
              <a:buFontTx/>
              <a:buChar char="-"/>
            </a:pPr>
            <a:r>
              <a:rPr lang="en-CA" dirty="0"/>
              <a:t>Cancelled or aborted executions are not eligible</a:t>
            </a:r>
          </a:p>
          <a:p>
            <a:pPr marL="171450" indent="-171450">
              <a:buFontTx/>
              <a:buChar char="-"/>
            </a:pPr>
            <a:r>
              <a:rPr lang="en-CA" dirty="0"/>
              <a:t>System queries are not eligible</a:t>
            </a:r>
          </a:p>
          <a:p>
            <a:pPr marL="171450" indent="-171450">
              <a:buFontTx/>
              <a:buChar char="-"/>
            </a:pPr>
            <a:r>
              <a:rPr lang="en-CA" dirty="0"/>
              <a:t>Only SELECT queries are eligible</a:t>
            </a:r>
          </a:p>
          <a:p>
            <a:pPr marL="171450" indent="-171450">
              <a:buFontTx/>
              <a:buChar char="-"/>
            </a:pPr>
            <a:r>
              <a:rPr lang="en-CA" dirty="0"/>
              <a:t>Queries with a default DOP &gt; 2 and &lt;= 128 are eligible</a:t>
            </a:r>
          </a:p>
          <a:p>
            <a:pPr marL="171450" indent="-171450">
              <a:buFontTx/>
              <a:buChar char="-"/>
            </a:pPr>
            <a:r>
              <a:rPr lang="en-CA" dirty="0"/>
              <a:t>“Adjusted” elapsed time removes non-parallelism-related waits (BUFFERLATCH, BUFFERIO, NETWORKIO)</a:t>
            </a:r>
          </a:p>
          <a:p>
            <a:pPr marL="171450" indent="-171450">
              <a:buFontTx/>
              <a:buChar char="-"/>
            </a:pPr>
            <a:r>
              <a:rPr lang="en-CA" dirty="0"/>
              <a:t>Queries already in the procedure cache are no longer considered until they are recompiled</a:t>
            </a:r>
          </a:p>
          <a:p>
            <a:pPr marL="171450" indent="-171450">
              <a:buFontTx/>
              <a:buChar char="-"/>
            </a:pPr>
            <a:endParaRPr lang="en-CA" dirty="0"/>
          </a:p>
          <a:p>
            <a:pPr marL="171450" indent="-171450">
              <a:buFontTx/>
              <a:buChar char="-"/>
            </a:pP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C05BF7-CE4B-4BC8-A676-A22D0F0782C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23433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F1609-B57B-CDF6-8147-8BB514CC5E4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5AAE7680-1219-22A8-A649-BCE75D542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EAC4DF7C-92F1-9F1D-E678-6B6220FC2500}"/>
              </a:ext>
            </a:extLst>
          </p:cNvPr>
          <p:cNvSpPr>
            <a:spLocks noGrp="1"/>
          </p:cNvSpPr>
          <p:nvPr>
            <p:ph type="dt" sz="half" idx="10"/>
          </p:nvPr>
        </p:nvSpPr>
        <p:spPr/>
        <p:txBody>
          <a:bodyPr/>
          <a:lstStyle/>
          <a:p>
            <a:fld id="{2F70E75E-BABC-4D59-B6FE-8C1E52CD8EA5}" type="datetimeFigureOut">
              <a:rPr lang="en-CA" smtClean="0"/>
              <a:t>2024-03-22</a:t>
            </a:fld>
            <a:endParaRPr lang="en-CA"/>
          </a:p>
        </p:txBody>
      </p:sp>
      <p:sp>
        <p:nvSpPr>
          <p:cNvPr id="5" name="Footer Placeholder 4">
            <a:extLst>
              <a:ext uri="{FF2B5EF4-FFF2-40B4-BE49-F238E27FC236}">
                <a16:creationId xmlns:a16="http://schemas.microsoft.com/office/drawing/2014/main" id="{44DC16B9-DE19-BB30-3123-6F6FBC7DC013}"/>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349CB37A-1BC4-630C-75D3-9B1931865128}"/>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3106246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0021B-F277-4650-9253-8F80352B26ED}"/>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79241517-31A5-C5EE-7D32-0A0FCF698E3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3DE79A73-3709-D622-3004-EF8AD5E0A984}"/>
              </a:ext>
            </a:extLst>
          </p:cNvPr>
          <p:cNvSpPr>
            <a:spLocks noGrp="1"/>
          </p:cNvSpPr>
          <p:nvPr>
            <p:ph type="dt" sz="half" idx="10"/>
          </p:nvPr>
        </p:nvSpPr>
        <p:spPr/>
        <p:txBody>
          <a:bodyPr/>
          <a:lstStyle/>
          <a:p>
            <a:fld id="{2F70E75E-BABC-4D59-B6FE-8C1E52CD8EA5}" type="datetimeFigureOut">
              <a:rPr lang="en-CA" smtClean="0"/>
              <a:t>2024-03-22</a:t>
            </a:fld>
            <a:endParaRPr lang="en-CA"/>
          </a:p>
        </p:txBody>
      </p:sp>
      <p:sp>
        <p:nvSpPr>
          <p:cNvPr id="5" name="Footer Placeholder 4">
            <a:extLst>
              <a:ext uri="{FF2B5EF4-FFF2-40B4-BE49-F238E27FC236}">
                <a16:creationId xmlns:a16="http://schemas.microsoft.com/office/drawing/2014/main" id="{E3D3BF12-787A-38A0-F928-22835657AC6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D5425199-F7F4-1BAD-994F-13AE8345392D}"/>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24670975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1C6F24-0DB8-7D14-3EDA-A846199D433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BC8561CB-509C-127E-05A9-BC5616D612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01B5F4D-BE8C-02CB-390B-00D8FC28C23E}"/>
              </a:ext>
            </a:extLst>
          </p:cNvPr>
          <p:cNvSpPr>
            <a:spLocks noGrp="1"/>
          </p:cNvSpPr>
          <p:nvPr>
            <p:ph type="dt" sz="half" idx="10"/>
          </p:nvPr>
        </p:nvSpPr>
        <p:spPr/>
        <p:txBody>
          <a:bodyPr/>
          <a:lstStyle/>
          <a:p>
            <a:fld id="{2F70E75E-BABC-4D59-B6FE-8C1E52CD8EA5}" type="datetimeFigureOut">
              <a:rPr lang="en-CA" smtClean="0"/>
              <a:t>2024-03-22</a:t>
            </a:fld>
            <a:endParaRPr lang="en-CA"/>
          </a:p>
        </p:txBody>
      </p:sp>
      <p:sp>
        <p:nvSpPr>
          <p:cNvPr id="5" name="Footer Placeholder 4">
            <a:extLst>
              <a:ext uri="{FF2B5EF4-FFF2-40B4-BE49-F238E27FC236}">
                <a16:creationId xmlns:a16="http://schemas.microsoft.com/office/drawing/2014/main" id="{2DB58CFD-2BD9-E017-4B14-8C940BC27946}"/>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449F250-25A1-66C1-2A0C-CE1EE44F3D55}"/>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6649644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73032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551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2597008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821763A-F6F8-FD7D-0449-9E3D3E95EB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622066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28EBA246-442B-3F35-48AA-C264C7540E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10589617"/>
      </p:ext>
    </p:extLst>
  </p:cSld>
  <p:clrMapOvr>
    <a:masterClrMapping/>
  </p:clrMapOvr>
  <p:hf sldNum="0" hdr="0" ftr="0" dt="0"/>
  <p:extLst>
    <p:ext uri="{DCECCB84-F9BA-43D5-87BE-67443E8EF086}">
      <p15:sldGuideLst xmlns:p15="http://schemas.microsoft.com/office/powerpoint/2012/main">
        <p15:guide id="15" orient="horz" pos="2160">
          <p15:clr>
            <a:srgbClr val="FFFFFF"/>
          </p15:clr>
        </p15:guide>
        <p15:guide id="16" pos="413">
          <p15:clr>
            <a:srgbClr val="FFFFFF"/>
          </p15:clr>
        </p15:guide>
        <p15:guide id="17" pos="3168">
          <p15:clr>
            <a:srgbClr val="FFFFFF"/>
          </p15:clr>
        </p15:guide>
        <p15:guide id="18" orient="horz" pos="1572">
          <p15:clr>
            <a:srgbClr val="FFFFFF"/>
          </p15:clr>
        </p15:guide>
        <p15:guide id="19" orient="horz" pos="2258">
          <p15:clr>
            <a:srgbClr val="FFFFFF"/>
          </p15:clr>
        </p15:guide>
        <p15:guide id="20" orient="horz" pos="2454">
          <p15:clr>
            <a:srgbClr val="FFFFFF"/>
          </p15:clr>
        </p15:guide>
        <p15:guide id="21" orient="horz" pos="2650">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56A091F5-9B67-3A00-826A-1A4782761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03454415"/>
      </p:ext>
    </p:extLst>
  </p:cSld>
  <p:clrMapOvr>
    <a:masterClrMapping/>
  </p:clrMapOvr>
  <p:hf sldNum="0" hdr="0" ftr="0" dt="0"/>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865DB95E-85DB-83BA-BFDD-98FDF9D09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18435675"/>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9DE2C3E9-90D6-83B6-B29F-69CBDC63D9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77577736"/>
      </p:ext>
    </p:extLst>
  </p:cSld>
  <p:clrMapOvr>
    <a:masterClrMapping/>
  </p:clrMapOvr>
  <p:hf sldNum="0" hdr="0" ftr="0" dt="0"/>
  <p:extLst>
    <p:ext uri="{DCECCB84-F9BA-43D5-87BE-67443E8EF086}">
      <p15:sldGuideLst xmlns:p15="http://schemas.microsoft.com/office/powerpoint/2012/main">
        <p15:guide id="16" orient="horz" pos="2160">
          <p15:clr>
            <a:srgbClr val="A4A3A4"/>
          </p15:clr>
        </p15:guide>
        <p15:guide id="17" orient="horz" pos="2258">
          <p15:clr>
            <a:srgbClr val="547EBF"/>
          </p15:clr>
        </p15:guide>
        <p15:guide id="18" orient="horz" pos="1866">
          <p15:clr>
            <a:srgbClr val="547EBF"/>
          </p15:clr>
        </p15:guide>
        <p15:guide id="19" orient="horz" pos="2650">
          <p15:clr>
            <a:srgbClr val="547EBF"/>
          </p15:clr>
        </p15:guide>
        <p15:guide id="20" orient="horz" pos="2454">
          <p15:clr>
            <a:srgbClr val="547EBF"/>
          </p15:clr>
        </p15:guide>
        <p15:guide id="21" pos="413">
          <p15:clr>
            <a:srgbClr val="547EBF"/>
          </p15:clr>
        </p15:guide>
        <p15:guide id="22" pos="6092">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5193E-7DAE-B7DD-4B1B-8328AB8CE8AE}"/>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17F1474E-5CAC-C7EE-12ED-98DD59FE2B4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1ECF572-ED2E-DD87-FD03-982C4B75C5A4}"/>
              </a:ext>
            </a:extLst>
          </p:cNvPr>
          <p:cNvSpPr>
            <a:spLocks noGrp="1"/>
          </p:cNvSpPr>
          <p:nvPr>
            <p:ph type="dt" sz="half" idx="10"/>
          </p:nvPr>
        </p:nvSpPr>
        <p:spPr/>
        <p:txBody>
          <a:bodyPr/>
          <a:lstStyle/>
          <a:p>
            <a:fld id="{2F70E75E-BABC-4D59-B6FE-8C1E52CD8EA5}" type="datetimeFigureOut">
              <a:rPr lang="en-CA" smtClean="0"/>
              <a:t>2024-03-22</a:t>
            </a:fld>
            <a:endParaRPr lang="en-CA"/>
          </a:p>
        </p:txBody>
      </p:sp>
      <p:sp>
        <p:nvSpPr>
          <p:cNvPr id="5" name="Footer Placeholder 4">
            <a:extLst>
              <a:ext uri="{FF2B5EF4-FFF2-40B4-BE49-F238E27FC236}">
                <a16:creationId xmlns:a16="http://schemas.microsoft.com/office/drawing/2014/main" id="{17AD3565-490C-7343-5C2C-C473FD2634F9}"/>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71833FA2-E533-EF98-05E3-AAC76994EC87}"/>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40860470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4051141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85164434"/>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1722621"/>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0185729"/>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0858646"/>
      </p:ext>
    </p:extLst>
  </p:cSld>
  <p:clrMapOvr>
    <a:masterClrMapping/>
  </p:clrMapOvr>
  <p:hf sldNum="0" hdr="0" ftr="0" dt="0"/>
  <p:extLst>
    <p:ext uri="{DCECCB84-F9BA-43D5-87BE-67443E8EF086}">
      <p15:sldGuideLst xmlns:p15="http://schemas.microsoft.com/office/powerpoint/2012/main">
        <p15:guide id="19" pos="413">
          <p15:clr>
            <a:srgbClr val="547EBF"/>
          </p15:clr>
        </p15:guide>
        <p15:guide id="20" orient="horz" pos="789">
          <p15:clr>
            <a:srgbClr val="547EBF"/>
          </p15:clr>
        </p15:guide>
        <p15:guide id="21" orient="horz" pos="887">
          <p15:clr>
            <a:srgbClr val="547EBF"/>
          </p15:clr>
        </p15:guide>
        <p15:guide id="22" pos="3742">
          <p15:clr>
            <a:srgbClr val="547EBF"/>
          </p15:clr>
        </p15:guide>
        <p15:guide id="23" pos="3938">
          <p15:clr>
            <a:srgbClr val="547EBF"/>
          </p15:clr>
        </p15:guide>
        <p15:guide id="24" pos="7267">
          <p15:clr>
            <a:srgbClr val="547EBF"/>
          </p15:clr>
        </p15:guide>
        <p15:guide id="25" orient="horz" pos="495">
          <p15:clr>
            <a:srgbClr val="547EBF"/>
          </p15:clr>
        </p15:guide>
        <p15:guide id="26" orient="horz" pos="202">
          <p15:clr>
            <a:srgbClr val="547EBF"/>
          </p15:clr>
        </p15:guide>
        <p15:guide id="27"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952067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197350947"/>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74312487"/>
      </p:ext>
    </p:extLst>
  </p:cSld>
  <p:clrMapOvr>
    <a:masterClrMapping/>
  </p:clrMapOvr>
  <p:hf sldNum="0" hdr="0" ftr="0" dt="0"/>
  <p:extLst>
    <p:ext uri="{DCECCB84-F9BA-43D5-87BE-67443E8EF086}">
      <p15:sldGuideLst xmlns:p15="http://schemas.microsoft.com/office/powerpoint/2012/main">
        <p15:guide id="59" pos="413">
          <p15:clr>
            <a:srgbClr val="547EBF"/>
          </p15:clr>
        </p15:guide>
        <p15:guide id="60" orient="horz" pos="887">
          <p15:clr>
            <a:srgbClr val="547EBF"/>
          </p15:clr>
        </p15:guide>
        <p15:guide id="61" orient="horz" pos="789">
          <p15:clr>
            <a:srgbClr val="547EBF"/>
          </p15:clr>
        </p15:guide>
        <p15:guide id="62" orient="horz" pos="495">
          <p15:clr>
            <a:srgbClr val="547EBF"/>
          </p15:clr>
        </p15:guide>
        <p15:guide id="63" orient="horz" pos="202">
          <p15:clr>
            <a:srgbClr val="547EBF"/>
          </p15:clr>
        </p15:guide>
        <p15:guide id="64" orient="horz" pos="3923">
          <p15:clr>
            <a:srgbClr val="547EBF"/>
          </p15:clr>
        </p15:guide>
        <p15:guide id="65" pos="804">
          <p15:clr>
            <a:srgbClr val="A4A3A4"/>
          </p15:clr>
        </p15:guide>
        <p15:guide id="66" pos="1000">
          <p15:clr>
            <a:srgbClr val="A4A3A4"/>
          </p15:clr>
        </p15:guide>
        <p15:guide id="67" pos="1392">
          <p15:clr>
            <a:srgbClr val="A4A3A4"/>
          </p15:clr>
        </p15:guide>
        <p15:guide id="68" pos="1588">
          <p15:clr>
            <a:srgbClr val="A4A3A4"/>
          </p15:clr>
        </p15:guide>
        <p15:guide id="69" pos="1980">
          <p15:clr>
            <a:srgbClr val="A4A3A4"/>
          </p15:clr>
        </p15:guide>
        <p15:guide id="70" pos="2175">
          <p15:clr>
            <a:srgbClr val="A4A3A4"/>
          </p15:clr>
        </p15:guide>
        <p15:guide id="71" pos="2567">
          <p15:clr>
            <a:srgbClr val="A4A3A4"/>
          </p15:clr>
        </p15:guide>
        <p15:guide id="72" pos="2763">
          <p15:clr>
            <a:srgbClr val="A4A3A4"/>
          </p15:clr>
        </p15:guide>
        <p15:guide id="73" pos="3155">
          <p15:clr>
            <a:srgbClr val="A4A3A4"/>
          </p15:clr>
        </p15:guide>
        <p15:guide id="74" pos="3350">
          <p15:clr>
            <a:srgbClr val="A4A3A4"/>
          </p15:clr>
        </p15:guide>
        <p15:guide id="75" pos="3742">
          <p15:clr>
            <a:srgbClr val="547EBF"/>
          </p15:clr>
        </p15:guide>
        <p15:guide id="76" pos="3938">
          <p15:clr>
            <a:srgbClr val="547EBF"/>
          </p15:clr>
        </p15:guide>
        <p15:guide id="77" pos="4330">
          <p15:clr>
            <a:srgbClr val="A4A3A4"/>
          </p15:clr>
        </p15:guide>
        <p15:guide id="78" pos="4525">
          <p15:clr>
            <a:srgbClr val="A4A3A4"/>
          </p15:clr>
        </p15:guide>
        <p15:guide id="79" pos="5113">
          <p15:clr>
            <a:srgbClr val="A4A3A4"/>
          </p15:clr>
        </p15:guide>
        <p15:guide id="80" pos="4917">
          <p15:clr>
            <a:srgbClr val="A4A3A4"/>
          </p15:clr>
        </p15:guide>
        <p15:guide id="81" pos="5505">
          <p15:clr>
            <a:srgbClr val="A4A3A4"/>
          </p15:clr>
        </p15:guide>
        <p15:guide id="82" pos="5700">
          <p15:clr>
            <a:srgbClr val="A4A3A4"/>
          </p15:clr>
        </p15:guide>
        <p15:guide id="83" pos="6092">
          <p15:clr>
            <a:srgbClr val="A4A3A4"/>
          </p15:clr>
        </p15:guide>
        <p15:guide id="84" pos="6288">
          <p15:clr>
            <a:srgbClr val="A4A3A4"/>
          </p15:clr>
        </p15:guide>
        <p15:guide id="85" pos="6680">
          <p15:clr>
            <a:srgbClr val="A4A3A4"/>
          </p15:clr>
        </p15:guide>
        <p15:guide id="86" pos="6876">
          <p15:clr>
            <a:srgbClr val="A4A3A4"/>
          </p15:clr>
        </p15:guide>
        <p15:guide id="87" pos="7267">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65032387"/>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26201542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AA2EB-ABB8-28E5-9D15-24EB39A3124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C4B00B5A-E069-E184-DB23-92147EF869C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0715E2-BD81-1EAD-65B5-BD2664735C55}"/>
              </a:ext>
            </a:extLst>
          </p:cNvPr>
          <p:cNvSpPr>
            <a:spLocks noGrp="1"/>
          </p:cNvSpPr>
          <p:nvPr>
            <p:ph type="dt" sz="half" idx="10"/>
          </p:nvPr>
        </p:nvSpPr>
        <p:spPr/>
        <p:txBody>
          <a:bodyPr/>
          <a:lstStyle/>
          <a:p>
            <a:fld id="{2F70E75E-BABC-4D59-B6FE-8C1E52CD8EA5}" type="datetimeFigureOut">
              <a:rPr lang="en-CA" smtClean="0"/>
              <a:t>2024-03-22</a:t>
            </a:fld>
            <a:endParaRPr lang="en-CA"/>
          </a:p>
        </p:txBody>
      </p:sp>
      <p:sp>
        <p:nvSpPr>
          <p:cNvPr id="5" name="Footer Placeholder 4">
            <a:extLst>
              <a:ext uri="{FF2B5EF4-FFF2-40B4-BE49-F238E27FC236}">
                <a16:creationId xmlns:a16="http://schemas.microsoft.com/office/drawing/2014/main" id="{678E365F-6E5D-DA6D-4F61-F3CFFF550FF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BBEA60DB-164E-A3B3-C9FF-E4B18D1A0CDF}"/>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433127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144625849"/>
      </p:ext>
    </p:extLst>
  </p:cSld>
  <p:clrMapOvr>
    <a:masterClrMapping/>
  </p:clrMapOvr>
  <p:hf sldNum="0" hdr="0" ftr="0" dt="0"/>
  <p:extLst>
    <p:ext uri="{DCECCB84-F9BA-43D5-87BE-67443E8EF086}">
      <p15:sldGuideLst xmlns:p15="http://schemas.microsoft.com/office/powerpoint/2012/main">
        <p15:guide id="11" pos="413">
          <p15:clr>
            <a:srgbClr val="547EBF"/>
          </p15:clr>
        </p15:guide>
        <p15:guide id="12" pos="6092">
          <p15:clr>
            <a:srgbClr val="547EBF"/>
          </p15:clr>
        </p15:guide>
        <p15:guide id="13" orient="horz" pos="2160">
          <p15:clr>
            <a:srgbClr val="547EBF"/>
          </p15:clr>
        </p15:guide>
        <p15:guide id="14" orient="horz" pos="2258">
          <p15:clr>
            <a:srgbClr val="547EBF"/>
          </p15:clr>
        </p15:guide>
        <p15:guide id="15" orient="horz" pos="1866">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837626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2811068"/>
      </p:ext>
    </p:extLst>
  </p:cSld>
  <p:clrMapOvr>
    <a:masterClrMapping/>
  </p:clrMapOvr>
  <p:hf sldNum="0" hdr="0" ftr="0" dt="0"/>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44830714"/>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7070966"/>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33080392"/>
      </p:ext>
    </p:extLst>
  </p:cSld>
  <p:clrMapOvr>
    <a:masterClrMapping/>
  </p:clrMapOvr>
  <p:hf sldNum="0" hdr="0" ftr="0" dt="0"/>
  <p:extLst>
    <p:ext uri="{DCECCB84-F9BA-43D5-87BE-67443E8EF086}">
      <p15:sldGuideLst xmlns:p15="http://schemas.microsoft.com/office/powerpoint/2012/main">
        <p15:guide id="15" orient="horz" pos="397">
          <p15:clr>
            <a:srgbClr val="547EBF"/>
          </p15:clr>
        </p15:guide>
        <p15:guide id="16" pos="3155">
          <p15:clr>
            <a:srgbClr val="547EBF"/>
          </p15:clr>
        </p15:guide>
        <p15:guide id="17" pos="3350">
          <p15:clr>
            <a:srgbClr val="547EBF"/>
          </p15:clr>
        </p15:guide>
        <p15:guide id="18" pos="413">
          <p15:clr>
            <a:srgbClr val="547EBF"/>
          </p15:clr>
        </p15:guide>
        <p15:guide id="19" orient="horz" pos="3923">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15989795"/>
      </p:ext>
    </p:extLst>
  </p:cSld>
  <p:clrMapOvr>
    <a:masterClrMapping/>
  </p:clrMapOvr>
  <p:hf sldNum="0" hdr="0" ftr="0" dt="0"/>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36299043"/>
      </p:ext>
    </p:extLst>
  </p:cSld>
  <p:clrMapOvr>
    <a:masterClrMapping/>
  </p:clrMapOvr>
  <p:hf sldNum="0" hdr="0" ftr="0" dt="0"/>
  <p:extLst>
    <p:ext uri="{DCECCB84-F9BA-43D5-87BE-67443E8EF086}">
      <p15:sldGuideLst xmlns:p15="http://schemas.microsoft.com/office/powerpoint/2012/main">
        <p15:guide id="15" orient="horz" pos="2943">
          <p15:clr>
            <a:srgbClr val="547EBF"/>
          </p15:clr>
        </p15:guide>
        <p15:guide id="16" orient="horz" pos="3923">
          <p15:clr>
            <a:srgbClr val="547EBF"/>
          </p15:clr>
        </p15:guide>
        <p15:guide id="17" orient="horz" pos="3139">
          <p15:clr>
            <a:srgbClr val="547EBF"/>
          </p15:clr>
        </p15:guide>
        <p15:guide id="18" pos="413">
          <p15:clr>
            <a:srgbClr val="547EBF"/>
          </p15:clr>
        </p15:guide>
        <p15:guide id="19"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3665263"/>
      </p:ext>
    </p:extLst>
  </p:cSld>
  <p:clrMapOvr>
    <a:masterClrMapping/>
  </p:clrMapOvr>
  <p:hf sldNum="0" hdr="0" ftr="0" dt="0"/>
  <p:extLst>
    <p:ext uri="{DCECCB84-F9BA-43D5-87BE-67443E8EF086}">
      <p15:sldGuideLst xmlns:p15="http://schemas.microsoft.com/office/powerpoint/2012/main">
        <p15:guide id="15" orient="horz" pos="1279">
          <p15:clr>
            <a:srgbClr val="547EBF"/>
          </p15:clr>
        </p15:guide>
        <p15:guide id="16" orient="horz" pos="397">
          <p15:clr>
            <a:srgbClr val="547EBF"/>
          </p15:clr>
        </p15:guide>
        <p15:guide id="17" orient="horz" pos="1181">
          <p15:clr>
            <a:srgbClr val="547EBF"/>
          </p15:clr>
        </p15:guide>
        <p15:guide id="18" pos="413">
          <p15:clr>
            <a:srgbClr val="547EBF"/>
          </p15:clr>
        </p15:guide>
        <p15:guide id="19" pos="726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67056897"/>
      </p:ext>
    </p:extLst>
  </p:cSld>
  <p:clrMapOvr>
    <a:masterClrMapping/>
  </p:clrMapOvr>
  <p:hf sldNum="0" hdr="0" ftr="0" dt="0"/>
  <p:extLst>
    <p:ext uri="{DCECCB84-F9BA-43D5-87BE-67443E8EF086}">
      <p15:sldGuideLst xmlns:p15="http://schemas.microsoft.com/office/powerpoint/2012/main">
        <p15:guide id="26" orient="horz" pos="3433">
          <p15:clr>
            <a:srgbClr val="547EBF"/>
          </p15:clr>
        </p15:guide>
        <p15:guide id="27" orient="horz" pos="1276">
          <p15:clr>
            <a:srgbClr val="547EBF"/>
          </p15:clr>
        </p15:guide>
        <p15:guide id="28" pos="3749">
          <p15:clr>
            <a:srgbClr val="547EBF"/>
          </p15:clr>
        </p15:guide>
        <p15:guide id="29" pos="3931">
          <p15:clr>
            <a:srgbClr val="547EBF"/>
          </p15:clr>
        </p15:guide>
        <p15:guide id="30" orient="horz" pos="3531">
          <p15:clr>
            <a:srgbClr val="547EBF"/>
          </p15:clr>
        </p15:guide>
        <p15:guide id="31" orient="horz" pos="3923">
          <p15:clr>
            <a:srgbClr val="547EBF"/>
          </p15:clr>
        </p15:guide>
        <p15:guide id="32" pos="413">
          <p15:clr>
            <a:srgbClr val="547EBF"/>
          </p15:clr>
        </p15:guide>
        <p15:guide id="33" pos="7267">
          <p15:clr>
            <a:srgbClr val="547EBF"/>
          </p15:clr>
        </p15:guide>
        <p15:guide id="34" orient="horz" pos="202">
          <p15:clr>
            <a:srgbClr val="547EBF"/>
          </p15:clr>
        </p15:guide>
        <p15:guide id="35" orient="horz" pos="495">
          <p15:clr>
            <a:srgbClr val="547EBF"/>
          </p15:clr>
        </p15:guide>
        <p15:guide id="36" orient="horz" pos="789">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BCE84-91B8-AF97-F5A5-36C8286CA877}"/>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7C51AC48-F356-A1C9-D8B5-F5A865ABE72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8953F6A4-F228-E4F9-867B-D6438547700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C2B928A0-5D46-A6D8-869F-BFB5365492EE}"/>
              </a:ext>
            </a:extLst>
          </p:cNvPr>
          <p:cNvSpPr>
            <a:spLocks noGrp="1"/>
          </p:cNvSpPr>
          <p:nvPr>
            <p:ph type="dt" sz="half" idx="10"/>
          </p:nvPr>
        </p:nvSpPr>
        <p:spPr/>
        <p:txBody>
          <a:bodyPr/>
          <a:lstStyle/>
          <a:p>
            <a:fld id="{2F70E75E-BABC-4D59-B6FE-8C1E52CD8EA5}" type="datetimeFigureOut">
              <a:rPr lang="en-CA" smtClean="0"/>
              <a:t>2024-03-22</a:t>
            </a:fld>
            <a:endParaRPr lang="en-CA"/>
          </a:p>
        </p:txBody>
      </p:sp>
      <p:sp>
        <p:nvSpPr>
          <p:cNvPr id="6" name="Footer Placeholder 5">
            <a:extLst>
              <a:ext uri="{FF2B5EF4-FFF2-40B4-BE49-F238E27FC236}">
                <a16:creationId xmlns:a16="http://schemas.microsoft.com/office/drawing/2014/main" id="{49287365-E239-D8B8-D3D6-F36AA1C22DB6}"/>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FAF2B8F1-9154-09AB-AEE5-4E49EB821A5A}"/>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6494707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08810352"/>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7094914"/>
      </p:ext>
    </p:extLst>
  </p:cSld>
  <p:clrMapOvr>
    <a:masterClrMapping/>
  </p:clrMapOvr>
  <p:hf sldNum="0" hdr="0" ftr="0" dt="0"/>
  <p:extLst>
    <p:ext uri="{DCECCB84-F9BA-43D5-87BE-67443E8EF086}">
      <p15:sldGuideLst xmlns:p15="http://schemas.microsoft.com/office/powerpoint/2012/main">
        <p15:guide id="34" orient="horz" pos="3531">
          <p15:clr>
            <a:srgbClr val="547EBF"/>
          </p15:clr>
        </p15:guide>
        <p15:guide id="35" orient="horz" pos="1279">
          <p15:clr>
            <a:srgbClr val="547EBF"/>
          </p15:clr>
        </p15:guide>
        <p15:guide id="36" orient="horz" pos="3433">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orient="horz" pos="3923">
          <p15:clr>
            <a:srgbClr val="547EBF"/>
          </p15:clr>
        </p15:guide>
        <p15:guide id="43" pos="2567">
          <p15:clr>
            <a:srgbClr val="547EBF"/>
          </p15:clr>
        </p15:guide>
        <p15:guide id="44" pos="2763">
          <p15:clr>
            <a:srgbClr val="547EBF"/>
          </p15:clr>
        </p15:guide>
        <p15:guide id="45" pos="4917">
          <p15:clr>
            <a:srgbClr val="547EBF"/>
          </p15:clr>
        </p15:guide>
        <p15:guide id="46" pos="5113">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35258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3470363"/>
      </p:ext>
    </p:extLst>
  </p:cSld>
  <p:clrMapOvr>
    <a:masterClrMapping/>
  </p:clrMapOvr>
  <p:hf sldNum="0" hdr="0" ftr="0" dt="0"/>
  <p:extLst>
    <p:ext uri="{DCECCB84-F9BA-43D5-87BE-67443E8EF086}">
      <p15:sldGuideLst xmlns:p15="http://schemas.microsoft.com/office/powerpoint/2012/main">
        <p15:guide id="33" orient="horz" pos="2943">
          <p15:clr>
            <a:srgbClr val="547EBF"/>
          </p15:clr>
        </p15:guide>
        <p15:guide id="34" orient="horz" pos="1279">
          <p15:clr>
            <a:srgbClr val="547EBF"/>
          </p15:clr>
        </p15:guide>
        <p15:guide id="35" orient="horz" pos="2845">
          <p15:clr>
            <a:srgbClr val="547EBF"/>
          </p15:clr>
        </p15:guide>
        <p15:guide id="36" orient="horz" pos="3936">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pos="1980">
          <p15:clr>
            <a:srgbClr val="547EBF"/>
          </p15:clr>
        </p15:guide>
        <p15:guide id="43" pos="2175">
          <p15:clr>
            <a:srgbClr val="547EBF"/>
          </p15:clr>
        </p15:guide>
        <p15:guide id="44" pos="3742">
          <p15:clr>
            <a:srgbClr val="547EBF"/>
          </p15:clr>
        </p15:guide>
        <p15:guide id="45" pos="3938">
          <p15:clr>
            <a:srgbClr val="547EBF"/>
          </p15:clr>
        </p15:guide>
        <p15:guide id="46" pos="5700">
          <p15:clr>
            <a:srgbClr val="547EBF"/>
          </p15:clr>
        </p15:guide>
        <p15:guide id="47" pos="5505">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2266721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37205465"/>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4382550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6544020"/>
      </p:ext>
    </p:extLst>
  </p:cSld>
  <p:clrMapOvr>
    <a:masterClrMapping/>
  </p:clrMapOvr>
  <p:hf sldNum="0" hdr="0" ftr="0" dt="0"/>
  <p:extLst>
    <p:ext uri="{DCECCB84-F9BA-43D5-87BE-67443E8EF086}">
      <p15:sldGuideLst xmlns:p15="http://schemas.microsoft.com/office/powerpoint/2012/main">
        <p15:guide id="44" orient="horz" pos="3936">
          <p15:clr>
            <a:srgbClr val="547EBF"/>
          </p15:clr>
        </p15:guide>
        <p15:guide id="45" pos="2376">
          <p15:clr>
            <a:srgbClr val="FFFFFF"/>
          </p15:clr>
        </p15:guide>
        <p15:guide id="46" orient="horz" pos="880">
          <p15:clr>
            <a:srgbClr val="547EBF"/>
          </p15:clr>
        </p15:guide>
        <p15:guide id="47" pos="4656">
          <p15:clr>
            <a:srgbClr val="547EBF"/>
          </p15:clr>
        </p15:guide>
        <p15:guide id="48" pos="7267">
          <p15:clr>
            <a:srgbClr val="547EBF"/>
          </p15:clr>
        </p15:guide>
        <p15:guide id="49" pos="2763">
          <p15:clr>
            <a:srgbClr val="547EBF"/>
          </p15:clr>
        </p15:guide>
        <p15:guide id="50" pos="413">
          <p15:clr>
            <a:srgbClr val="FFFFFF"/>
          </p15:clr>
        </p15:guide>
        <p15:guide id="51" pos="480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FB337EDF-6D1D-D9FC-700C-E4FE3D517F0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40554501"/>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9A6EFCF4-D161-EDDC-4F1D-528E88BDF524}"/>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942949"/>
      </p:ext>
    </p:extLst>
  </p:cSld>
  <p:clrMapOvr>
    <a:masterClrMapping/>
  </p:clrMapOvr>
  <p:hf sldNum="0" hdr="0" ftr="0" dt="0"/>
  <p:extLst>
    <p:ext uri="{DCECCB84-F9BA-43D5-87BE-67443E8EF086}">
      <p15:sldGuideLst xmlns:p15="http://schemas.microsoft.com/office/powerpoint/2012/main">
        <p15:guide id="44" orient="horz" pos="397">
          <p15:clr>
            <a:srgbClr val="547EBF"/>
          </p15:clr>
        </p15:guide>
        <p15:guide id="45" orient="horz" pos="3923">
          <p15:clr>
            <a:srgbClr val="547EBF"/>
          </p15:clr>
        </p15:guide>
        <p15:guide id="46" pos="2763">
          <p15:clr>
            <a:srgbClr val="547EBF"/>
          </p15:clr>
        </p15:guide>
        <p15:guide id="47" pos="413">
          <p15:clr>
            <a:srgbClr val="547EBF"/>
          </p15:clr>
        </p15:guide>
        <p15:guide id="48" pos="2371">
          <p15:clr>
            <a:srgbClr val="547EBF"/>
          </p15:clr>
        </p15:guide>
        <p15:guide id="49" pos="3155">
          <p15:clr>
            <a:srgbClr val="547EBF"/>
          </p15:clr>
        </p15:guide>
        <p15:guide id="50" pos="7267">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4026E-2745-CA92-3435-3C5FEC726D6F}"/>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B4F51A80-EEBB-5B97-FF9E-3F068853A02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DF36EA-1AD8-772D-6781-FB9D620939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C45F97AA-D992-D7F8-08DC-DA3A0B18D6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C95337-6B8D-187B-56BC-E946BBAD6E2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D115837-D4F1-6142-2E0D-6A8640B93B14}"/>
              </a:ext>
            </a:extLst>
          </p:cNvPr>
          <p:cNvSpPr>
            <a:spLocks noGrp="1"/>
          </p:cNvSpPr>
          <p:nvPr>
            <p:ph type="dt" sz="half" idx="10"/>
          </p:nvPr>
        </p:nvSpPr>
        <p:spPr/>
        <p:txBody>
          <a:bodyPr/>
          <a:lstStyle/>
          <a:p>
            <a:fld id="{2F70E75E-BABC-4D59-B6FE-8C1E52CD8EA5}" type="datetimeFigureOut">
              <a:rPr lang="en-CA" smtClean="0"/>
              <a:t>2024-03-22</a:t>
            </a:fld>
            <a:endParaRPr lang="en-CA"/>
          </a:p>
        </p:txBody>
      </p:sp>
      <p:sp>
        <p:nvSpPr>
          <p:cNvPr id="8" name="Footer Placeholder 7">
            <a:extLst>
              <a:ext uri="{FF2B5EF4-FFF2-40B4-BE49-F238E27FC236}">
                <a16:creationId xmlns:a16="http://schemas.microsoft.com/office/drawing/2014/main" id="{FF205742-35BC-AE18-E1E4-C15B5AE79A60}"/>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ADFB6825-29D1-9D89-4E27-40886E0E97CA}"/>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37420582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69516"/>
      </p:ext>
    </p:extLst>
  </p:cSld>
  <p:clrMapOvr>
    <a:masterClrMapping/>
  </p:clrMapOvr>
  <p:hf sldNum="0" hdr="0" ftr="0" dt="0"/>
  <p:extLst>
    <p:ext uri="{DCECCB84-F9BA-43D5-87BE-67443E8EF086}">
      <p15:sldGuideLst xmlns:p15="http://schemas.microsoft.com/office/powerpoint/2012/main">
        <p15:guide id="15" pos="413">
          <p15:clr>
            <a:srgbClr val="547EBF"/>
          </p15:clr>
        </p15:guide>
        <p15:guide id="16" orient="horz" pos="495">
          <p15:clr>
            <a:srgbClr val="547EBF"/>
          </p15:clr>
        </p15:guide>
        <p15:guide id="17" pos="7267">
          <p15:clr>
            <a:srgbClr val="547EBF"/>
          </p15:clr>
        </p15:guide>
        <p15:guide id="18" orient="horz" pos="202">
          <p15:clr>
            <a:srgbClr val="547EBF"/>
          </p15:clr>
        </p15:guide>
        <p15:guide id="19" orient="horz" pos="789">
          <p15:clr>
            <a:srgbClr val="547EBF"/>
          </p15:clr>
        </p15:guide>
        <p15:guide id="20" orient="horz" pos="912">
          <p15:clr>
            <a:srgbClr val="547EBF"/>
          </p15:clr>
        </p15:guide>
        <p15:guide id="21" orient="horz" pos="3923">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3916939"/>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274427"/>
      </p:ext>
    </p:extLst>
  </p:cSld>
  <p:clrMapOvr>
    <a:masterClrMapping/>
  </p:clrMapOvr>
  <p:hf sldNum="0" hdr="0" ftr="0" dt="0"/>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56055"/>
      </p:ext>
    </p:extLst>
  </p:cSld>
  <p:clrMapOvr>
    <a:masterClrMapping/>
  </p:clrMapOvr>
  <p:hf sldNum="0" hdr="0" ftr="0" dt="0"/>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4B745D85-4481-2BE7-0D6A-D6175E91161B}"/>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801557620"/>
      </p:ext>
    </p:extLst>
  </p:cSld>
  <p:clrMapOvr>
    <a:masterClrMapping/>
  </p:clrMapOvr>
  <p:hf sldNum="0" hdr="0" ftr="0" dt="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EF5B8A4-D209-1856-1704-36CF8608C9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82538377"/>
      </p:ext>
    </p:extLst>
  </p:cSld>
  <p:clrMapOvr>
    <a:masterClrMapping/>
  </p:clrMapOvr>
  <p:hf sldNum="0" hdr="0" ftr="0" dt="0"/>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09774301"/>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p15:clr>
            <a:srgbClr val="FFFFFF"/>
          </p15:clr>
        </p15:guide>
        <p15:guide id="16" orient="horz" pos="495">
          <p15:clr>
            <a:srgbClr val="FFFFFF"/>
          </p15:clr>
        </p15:guide>
        <p15:guide id="17" orient="horz" pos="887">
          <p15:clr>
            <a:srgbClr val="FFFFFF"/>
          </p15:clr>
        </p15:guide>
        <p15:guide id="18" orient="horz" pos="3923">
          <p15:clr>
            <a:srgbClr val="FFFFFF"/>
          </p15:clr>
        </p15:guide>
        <p15:guide id="19" pos="413">
          <p15:clr>
            <a:srgbClr val="FFFFFF"/>
          </p15:clr>
        </p15:guide>
        <p15:guide id="20" pos="7267">
          <p15:clr>
            <a:srgbClr val="FFFF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37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72968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67010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36D6C-D062-068C-8BDC-EB1554DD6D11}"/>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65B4F695-C17C-868A-50DD-6B693E5C5DCE}"/>
              </a:ext>
            </a:extLst>
          </p:cNvPr>
          <p:cNvSpPr>
            <a:spLocks noGrp="1"/>
          </p:cNvSpPr>
          <p:nvPr>
            <p:ph type="dt" sz="half" idx="10"/>
          </p:nvPr>
        </p:nvSpPr>
        <p:spPr/>
        <p:txBody>
          <a:bodyPr/>
          <a:lstStyle/>
          <a:p>
            <a:fld id="{2F70E75E-BABC-4D59-B6FE-8C1E52CD8EA5}" type="datetimeFigureOut">
              <a:rPr lang="en-CA" smtClean="0"/>
              <a:t>2024-03-22</a:t>
            </a:fld>
            <a:endParaRPr lang="en-CA"/>
          </a:p>
        </p:txBody>
      </p:sp>
      <p:sp>
        <p:nvSpPr>
          <p:cNvPr id="4" name="Footer Placeholder 3">
            <a:extLst>
              <a:ext uri="{FF2B5EF4-FFF2-40B4-BE49-F238E27FC236}">
                <a16:creationId xmlns:a16="http://schemas.microsoft.com/office/drawing/2014/main" id="{46F7CC07-9910-7D97-B6DD-99BC3194E18B}"/>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374AFB6C-A609-7E26-43F2-3363B19FD6CC}"/>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28769128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0680396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67290197"/>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2948524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08389837"/>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42750202"/>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02545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1EE93A-2F64-30FF-70D9-2BF98D80A2F7}"/>
              </a:ext>
            </a:extLst>
          </p:cNvPr>
          <p:cNvSpPr>
            <a:spLocks noGrp="1"/>
          </p:cNvSpPr>
          <p:nvPr>
            <p:ph type="dt" sz="half" idx="10"/>
          </p:nvPr>
        </p:nvSpPr>
        <p:spPr/>
        <p:txBody>
          <a:bodyPr/>
          <a:lstStyle/>
          <a:p>
            <a:fld id="{2F70E75E-BABC-4D59-B6FE-8C1E52CD8EA5}" type="datetimeFigureOut">
              <a:rPr lang="en-CA" smtClean="0"/>
              <a:t>2024-03-22</a:t>
            </a:fld>
            <a:endParaRPr lang="en-CA"/>
          </a:p>
        </p:txBody>
      </p:sp>
      <p:sp>
        <p:nvSpPr>
          <p:cNvPr id="3" name="Footer Placeholder 2">
            <a:extLst>
              <a:ext uri="{FF2B5EF4-FFF2-40B4-BE49-F238E27FC236}">
                <a16:creationId xmlns:a16="http://schemas.microsoft.com/office/drawing/2014/main" id="{1B201358-503E-07DB-3BBD-463054DF7709}"/>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BF5FB7B1-44E6-9576-D793-5F7889F61DC4}"/>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3483407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35F95-EA8C-6D5A-5D94-BF925A8A69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55A9F55C-3379-1421-9E7A-8BC04C09D84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AA0658C3-3949-3EB3-7AB5-F7E8A57C15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93A0F8-ACEE-FD59-7708-90205EE40F9B}"/>
              </a:ext>
            </a:extLst>
          </p:cNvPr>
          <p:cNvSpPr>
            <a:spLocks noGrp="1"/>
          </p:cNvSpPr>
          <p:nvPr>
            <p:ph type="dt" sz="half" idx="10"/>
          </p:nvPr>
        </p:nvSpPr>
        <p:spPr/>
        <p:txBody>
          <a:bodyPr/>
          <a:lstStyle/>
          <a:p>
            <a:fld id="{2F70E75E-BABC-4D59-B6FE-8C1E52CD8EA5}" type="datetimeFigureOut">
              <a:rPr lang="en-CA" smtClean="0"/>
              <a:t>2024-03-22</a:t>
            </a:fld>
            <a:endParaRPr lang="en-CA"/>
          </a:p>
        </p:txBody>
      </p:sp>
      <p:sp>
        <p:nvSpPr>
          <p:cNvPr id="6" name="Footer Placeholder 5">
            <a:extLst>
              <a:ext uri="{FF2B5EF4-FFF2-40B4-BE49-F238E27FC236}">
                <a16:creationId xmlns:a16="http://schemas.microsoft.com/office/drawing/2014/main" id="{C2D8A658-2ECB-1C9C-E26D-9F08F404BFD4}"/>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738FCF05-BDD8-A7B0-13B7-AED522E7DE4E}"/>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2567944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7CE86-4C34-D996-C1E1-266BDB8044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5E08A17-4702-92BF-2C93-1BDAE81F2B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6AA1907-EBA9-2BDE-ED54-DDA3BC5A5E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8163CF-81D0-6759-FAF4-833396617C45}"/>
              </a:ext>
            </a:extLst>
          </p:cNvPr>
          <p:cNvSpPr>
            <a:spLocks noGrp="1"/>
          </p:cNvSpPr>
          <p:nvPr>
            <p:ph type="dt" sz="half" idx="10"/>
          </p:nvPr>
        </p:nvSpPr>
        <p:spPr/>
        <p:txBody>
          <a:bodyPr/>
          <a:lstStyle/>
          <a:p>
            <a:fld id="{2F70E75E-BABC-4D59-B6FE-8C1E52CD8EA5}" type="datetimeFigureOut">
              <a:rPr lang="en-CA" smtClean="0"/>
              <a:t>2024-03-22</a:t>
            </a:fld>
            <a:endParaRPr lang="en-CA"/>
          </a:p>
        </p:txBody>
      </p:sp>
      <p:sp>
        <p:nvSpPr>
          <p:cNvPr id="6" name="Footer Placeholder 5">
            <a:extLst>
              <a:ext uri="{FF2B5EF4-FFF2-40B4-BE49-F238E27FC236}">
                <a16:creationId xmlns:a16="http://schemas.microsoft.com/office/drawing/2014/main" id="{FC810FF4-B495-DE0B-2D98-E65327F26589}"/>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E50280EB-D709-2B88-54A8-80F01F9BAE3F}"/>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34384816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slideLayout" Target="../slideLayouts/slideLayout62.xml"/><Relationship Id="rId55" Type="http://schemas.openxmlformats.org/officeDocument/2006/relationships/tags" Target="../tags/tag1.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3" Type="http://schemas.openxmlformats.org/officeDocument/2006/relationships/slideLayout" Target="../slideLayouts/slideLayout65.xml"/><Relationship Id="rId58" Type="http://schemas.openxmlformats.org/officeDocument/2006/relationships/tags" Target="../tags/tag4.xml"/><Relationship Id="rId5" Type="http://schemas.openxmlformats.org/officeDocument/2006/relationships/slideLayout" Target="../slideLayouts/slideLayout17.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56" Type="http://schemas.openxmlformats.org/officeDocument/2006/relationships/tags" Target="../tags/tag2.xml"/><Relationship Id="rId8" Type="http://schemas.openxmlformats.org/officeDocument/2006/relationships/slideLayout" Target="../slideLayouts/slideLayout20.xml"/><Relationship Id="rId51" Type="http://schemas.openxmlformats.org/officeDocument/2006/relationships/slideLayout" Target="../slideLayouts/slideLayout63.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59" Type="http://schemas.openxmlformats.org/officeDocument/2006/relationships/tags" Target="../tags/tag5.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54"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57" Type="http://schemas.openxmlformats.org/officeDocument/2006/relationships/tags" Target="../tags/tag3.xml"/><Relationship Id="rId10" Type="http://schemas.openxmlformats.org/officeDocument/2006/relationships/slideLayout" Target="../slideLayouts/slideLayout22.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slideLayout" Target="../slideLayouts/slideLayout64.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C65B33-A3BE-6AE8-50C2-F32ADE11F7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EACF3118-8D4E-50F5-2DC2-B2C9248E90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907D2478-E43C-2BC7-B7E6-69D989A64AD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F70E75E-BABC-4D59-B6FE-8C1E52CD8EA5}" type="datetimeFigureOut">
              <a:rPr lang="en-CA" smtClean="0"/>
              <a:t>2024-03-22</a:t>
            </a:fld>
            <a:endParaRPr lang="en-CA"/>
          </a:p>
        </p:txBody>
      </p:sp>
      <p:sp>
        <p:nvSpPr>
          <p:cNvPr id="5" name="Footer Placeholder 4">
            <a:extLst>
              <a:ext uri="{FF2B5EF4-FFF2-40B4-BE49-F238E27FC236}">
                <a16:creationId xmlns:a16="http://schemas.microsoft.com/office/drawing/2014/main" id="{AA6AF663-5D83-4E4E-7A90-0D7431B995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CA"/>
          </a:p>
        </p:txBody>
      </p:sp>
      <p:sp>
        <p:nvSpPr>
          <p:cNvPr id="6" name="Slide Number Placeholder 5">
            <a:extLst>
              <a:ext uri="{FF2B5EF4-FFF2-40B4-BE49-F238E27FC236}">
                <a16:creationId xmlns:a16="http://schemas.microsoft.com/office/drawing/2014/main" id="{28C00744-5213-A5EB-4AE6-972EFE02B2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C2D7371-0EAD-4FCB-94B4-4AA74FE480D2}" type="slidenum">
              <a:rPr lang="en-CA" smtClean="0"/>
              <a:t>‹#›</a:t>
            </a:fld>
            <a:endParaRPr lang="en-CA"/>
          </a:p>
        </p:txBody>
      </p:sp>
    </p:spTree>
    <p:extLst>
      <p:ext uri="{BB962C8B-B14F-4D97-AF65-F5344CB8AC3E}">
        <p14:creationId xmlns:p14="http://schemas.microsoft.com/office/powerpoint/2010/main" val="6585641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E4B9F0DC-77A5-EA7F-25EF-62B3F9717888}"/>
              </a:ext>
              <a:ext uri="{C183D7F6-B498-43B3-948B-1728B52AA6E4}">
                <adec:decorative xmlns:adec="http://schemas.microsoft.com/office/drawing/2017/decorative" val="1"/>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B25C562B-100B-FDDF-E3D1-8CEAB035DEA0}"/>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22498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1" r:id="rId48"/>
    <p:sldLayoutId id="2147483712" r:id="rId49"/>
    <p:sldLayoutId id="2147483713" r:id="rId50"/>
    <p:sldLayoutId id="2147483714" r:id="rId51"/>
    <p:sldLayoutId id="2147483715" r:id="rId52"/>
    <p:sldLayoutId id="2147483716" r:id="rId53"/>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12.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6.jp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s://learn.microsoft.com/en-us/azure/azure-sql/database/configure-max-degree-of-parallelism?view=azuresql" TargetMode="External"/><Relationship Id="rId7" Type="http://schemas.openxmlformats.org/officeDocument/2006/relationships/diagramColors" Target="../diagrams/colors2.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5AF63BF-4B09-81E2-C7E1-F762478A1E5C}"/>
              </a:ext>
            </a:extLst>
          </p:cNvPr>
          <p:cNvSpPr txBox="1">
            <a:spLocks/>
          </p:cNvSpPr>
          <p:nvPr/>
        </p:nvSpPr>
        <p:spPr>
          <a:xfrm>
            <a:off x="399588" y="2560609"/>
            <a:ext cx="4420061" cy="173678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800" dirty="0">
                <a:solidFill>
                  <a:srgbClr val="0070C0"/>
                </a:solidFill>
                <a:latin typeface="+mn-lt"/>
              </a:rPr>
              <a:t>SQL Troubleshooting: CPU</a:t>
            </a:r>
          </a:p>
          <a:p>
            <a:endParaRPr lang="en-US" sz="2000" dirty="0">
              <a:solidFill>
                <a:srgbClr val="0070C0"/>
              </a:solidFill>
              <a:latin typeface="+mn-lt"/>
            </a:endParaRPr>
          </a:p>
        </p:txBody>
      </p:sp>
      <p:pic>
        <p:nvPicPr>
          <p:cNvPr id="4" name="Picture 3" descr="A close-up of a logo&#10;&#10;Description automatically generated">
            <a:extLst>
              <a:ext uri="{FF2B5EF4-FFF2-40B4-BE49-F238E27FC236}">
                <a16:creationId xmlns:a16="http://schemas.microsoft.com/office/drawing/2014/main" id="{CBD42E9F-E6C7-1D5D-D473-C963E53251ED}"/>
              </a:ext>
            </a:extLst>
          </p:cNvPr>
          <p:cNvPicPr>
            <a:picLocks noChangeAspect="1"/>
          </p:cNvPicPr>
          <p:nvPr/>
        </p:nvPicPr>
        <p:blipFill>
          <a:blip r:embed="rId2"/>
          <a:stretch>
            <a:fillRect/>
          </a:stretch>
        </p:blipFill>
        <p:spPr>
          <a:xfrm>
            <a:off x="399589" y="351503"/>
            <a:ext cx="2038811" cy="664040"/>
          </a:xfrm>
          <a:prstGeom prst="rect">
            <a:avLst/>
          </a:prstGeom>
        </p:spPr>
      </p:pic>
      <p:pic>
        <p:nvPicPr>
          <p:cNvPr id="5" name="Picture 4" descr="A computer chip with smoke coming out of it&#10;&#10;Description automatically generated">
            <a:extLst>
              <a:ext uri="{FF2B5EF4-FFF2-40B4-BE49-F238E27FC236}">
                <a16:creationId xmlns:a16="http://schemas.microsoft.com/office/drawing/2014/main" id="{27FD0853-7B61-1C1D-45B5-44B0CBD239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05170117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37E0AAA-992D-4D3C-0CB9-D19ABFCC999B}"/>
              </a:ext>
            </a:extLst>
          </p:cNvPr>
          <p:cNvSpPr txBox="1"/>
          <p:nvPr/>
        </p:nvSpPr>
        <p:spPr>
          <a:xfrm>
            <a:off x="367902" y="1161619"/>
            <a:ext cx="10923491" cy="81560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70C0"/>
                </a:solidFill>
                <a:effectLst/>
                <a:uLnTx/>
                <a:uFillTx/>
                <a:ea typeface="+mn-ea"/>
                <a:cs typeface="Segoe UI" panose="020B0502040204020203" pitchFamily="34" charset="0"/>
              </a:rPr>
              <a:t>A feature that analyzes any parallel query and determines if it might perform better with a </a:t>
            </a:r>
            <a:r>
              <a:rPr kumimoji="0" lang="en-US" b="0" i="0" u="sng" strike="noStrike" kern="1200" cap="none" spc="0" normalizeH="0" baseline="0" noProof="0" dirty="0">
                <a:ln>
                  <a:noFill/>
                </a:ln>
                <a:solidFill>
                  <a:srgbClr val="0070C0"/>
                </a:solidFill>
                <a:effectLst/>
                <a:uLnTx/>
                <a:uFillTx/>
                <a:ea typeface="+mn-ea"/>
                <a:cs typeface="Segoe UI" panose="020B0502040204020203" pitchFamily="34" charset="0"/>
              </a:rPr>
              <a:t>lower</a:t>
            </a:r>
            <a:r>
              <a:rPr kumimoji="0" lang="en-US" b="0" i="0" u="none" strike="noStrike" kern="1200" cap="none" spc="0" normalizeH="0" baseline="0" noProof="0" dirty="0">
                <a:ln>
                  <a:noFill/>
                </a:ln>
                <a:solidFill>
                  <a:srgbClr val="0070C0"/>
                </a:solidFill>
                <a:effectLst/>
                <a:uLnTx/>
                <a:uFillTx/>
                <a:ea typeface="+mn-ea"/>
                <a:cs typeface="Segoe UI" panose="020B0502040204020203" pitchFamily="34" charset="0"/>
              </a:rPr>
              <a:t> degree of parallelism than what is currently being used.</a:t>
            </a:r>
          </a:p>
          <a:p>
            <a:pPr lvl="1">
              <a:defRPr/>
            </a:pPr>
            <a:r>
              <a:rPr kumimoji="0" lang="en-US" sz="1050" b="0" i="0" u="none" strike="noStrike" kern="1200" cap="none" spc="0" normalizeH="0" baseline="0" noProof="0" dirty="0">
                <a:ln>
                  <a:noFill/>
                </a:ln>
                <a:solidFill>
                  <a:srgbClr val="FF0000"/>
                </a:solidFill>
                <a:effectLst/>
                <a:uLnTx/>
                <a:uFillTx/>
                <a:ea typeface="+mn-ea"/>
                <a:cs typeface="Segoe UI" panose="020B0502040204020203" pitchFamily="34" charset="0"/>
              </a:rPr>
              <a:t>NOTE: </a:t>
            </a:r>
            <a:r>
              <a:rPr kumimoji="0" lang="en-US" sz="1050" b="0" i="1" u="none" strike="noStrike" kern="1200" cap="none" spc="0" normalizeH="0" baseline="0" noProof="0" dirty="0">
                <a:ln>
                  <a:noFill/>
                </a:ln>
                <a:solidFill>
                  <a:srgbClr val="FF0000"/>
                </a:solidFill>
                <a:effectLst/>
                <a:uLnTx/>
                <a:uFillTx/>
                <a:ea typeface="+mn-ea"/>
                <a:cs typeface="Segoe UI" panose="020B0502040204020203" pitchFamily="34" charset="0"/>
              </a:rPr>
              <a:t>DOP </a:t>
            </a:r>
            <a:r>
              <a:rPr kumimoji="0" lang="en-US" sz="1050" b="0" i="1" u="none" strike="noStrike" kern="1200" cap="none" spc="0" normalizeH="0" baseline="0" noProof="0" dirty="0" err="1">
                <a:ln>
                  <a:noFill/>
                </a:ln>
                <a:solidFill>
                  <a:srgbClr val="FF0000"/>
                </a:solidFill>
                <a:effectLst/>
                <a:uLnTx/>
                <a:uFillTx/>
                <a:ea typeface="+mn-ea"/>
                <a:cs typeface="Segoe UI" panose="020B0502040204020203" pitchFamily="34" charset="0"/>
              </a:rPr>
              <a:t>Feddback</a:t>
            </a:r>
            <a:r>
              <a:rPr kumimoji="0" lang="en-US" sz="1050" b="0" i="1" u="none" strike="noStrike" kern="1200" cap="none" spc="0" normalizeH="0" baseline="0" noProof="0" dirty="0">
                <a:ln>
                  <a:noFill/>
                </a:ln>
                <a:solidFill>
                  <a:srgbClr val="FF0000"/>
                </a:solidFill>
                <a:effectLst/>
                <a:uLnTx/>
                <a:uFillTx/>
                <a:ea typeface="+mn-ea"/>
                <a:cs typeface="Segoe UI" panose="020B0502040204020203" pitchFamily="34" charset="0"/>
              </a:rPr>
              <a:t> does not change the plan, only the DOP value</a:t>
            </a:r>
            <a:endParaRPr kumimoji="0" lang="en-US" sz="1600" b="0" i="1" u="none" strike="noStrike" kern="1200" cap="none" spc="0" normalizeH="0" baseline="0" noProof="0" dirty="0">
              <a:ln>
                <a:noFill/>
              </a:ln>
              <a:solidFill>
                <a:srgbClr val="FF0000"/>
              </a:solidFill>
              <a:effectLst/>
              <a:uLnTx/>
              <a:uFillTx/>
              <a:ea typeface="+mn-ea"/>
              <a:cs typeface="Segoe UI" panose="020B0502040204020203" pitchFamily="34" charset="0"/>
            </a:endParaRPr>
          </a:p>
        </p:txBody>
      </p:sp>
      <p:sp>
        <p:nvSpPr>
          <p:cNvPr id="5" name="TextBox 4">
            <a:extLst>
              <a:ext uri="{FF2B5EF4-FFF2-40B4-BE49-F238E27FC236}">
                <a16:creationId xmlns:a16="http://schemas.microsoft.com/office/drawing/2014/main" id="{A19F420F-E05D-DAB5-7658-A3EB5B4F0C61}"/>
              </a:ext>
            </a:extLst>
          </p:cNvPr>
          <p:cNvSpPr txBox="1"/>
          <p:nvPr/>
        </p:nvSpPr>
        <p:spPr>
          <a:xfrm>
            <a:off x="44182" y="2005414"/>
            <a:ext cx="309826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Sits between RG and Thread Availability</a:t>
            </a:r>
            <a:endParaRPr kumimoji="0" lang="en-US" sz="1200" b="0"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endParaRPr>
          </a:p>
        </p:txBody>
      </p:sp>
      <p:sp>
        <p:nvSpPr>
          <p:cNvPr id="6" name="Rectangle 5">
            <a:extLst>
              <a:ext uri="{FF2B5EF4-FFF2-40B4-BE49-F238E27FC236}">
                <a16:creationId xmlns:a16="http://schemas.microsoft.com/office/drawing/2014/main" id="{7FD5999D-A9A6-DE07-A6E4-5870DAD0D718}"/>
              </a:ext>
            </a:extLst>
          </p:cNvPr>
          <p:cNvSpPr/>
          <p:nvPr/>
        </p:nvSpPr>
        <p:spPr>
          <a:xfrm>
            <a:off x="358377" y="5021410"/>
            <a:ext cx="1103043" cy="36933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Instance-level </a:t>
            </a:r>
          </a:p>
        </p:txBody>
      </p:sp>
      <p:sp>
        <p:nvSpPr>
          <p:cNvPr id="13" name="Rectangle 12">
            <a:extLst>
              <a:ext uri="{FF2B5EF4-FFF2-40B4-BE49-F238E27FC236}">
                <a16:creationId xmlns:a16="http://schemas.microsoft.com/office/drawing/2014/main" id="{D876286D-A70B-0981-3283-B3DF5F315A8C}"/>
              </a:ext>
            </a:extLst>
          </p:cNvPr>
          <p:cNvSpPr/>
          <p:nvPr/>
        </p:nvSpPr>
        <p:spPr>
          <a:xfrm>
            <a:off x="358377" y="2498006"/>
            <a:ext cx="1103047" cy="36933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No. of Threads Available</a:t>
            </a:r>
          </a:p>
        </p:txBody>
      </p:sp>
      <p:sp>
        <p:nvSpPr>
          <p:cNvPr id="14" name="Rectangle 13">
            <a:extLst>
              <a:ext uri="{FF2B5EF4-FFF2-40B4-BE49-F238E27FC236}">
                <a16:creationId xmlns:a16="http://schemas.microsoft.com/office/drawing/2014/main" id="{FA9D81C6-5FC2-7CE5-266B-3B56A22EB1F0}"/>
              </a:ext>
            </a:extLst>
          </p:cNvPr>
          <p:cNvSpPr/>
          <p:nvPr/>
        </p:nvSpPr>
        <p:spPr>
          <a:xfrm>
            <a:off x="358377" y="3165301"/>
            <a:ext cx="1103045" cy="36933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Resource Governor</a:t>
            </a:r>
          </a:p>
        </p:txBody>
      </p:sp>
      <p:sp>
        <p:nvSpPr>
          <p:cNvPr id="15" name="Rectangle 14">
            <a:extLst>
              <a:ext uri="{FF2B5EF4-FFF2-40B4-BE49-F238E27FC236}">
                <a16:creationId xmlns:a16="http://schemas.microsoft.com/office/drawing/2014/main" id="{1EF46132-1F29-CD11-0AD1-5582BD3D1B5A}"/>
              </a:ext>
            </a:extLst>
          </p:cNvPr>
          <p:cNvSpPr/>
          <p:nvPr/>
        </p:nvSpPr>
        <p:spPr>
          <a:xfrm>
            <a:off x="358377" y="3818523"/>
            <a:ext cx="1103044" cy="36933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Query hint</a:t>
            </a:r>
          </a:p>
        </p:txBody>
      </p:sp>
      <p:sp>
        <p:nvSpPr>
          <p:cNvPr id="16" name="Rectangle 15">
            <a:extLst>
              <a:ext uri="{FF2B5EF4-FFF2-40B4-BE49-F238E27FC236}">
                <a16:creationId xmlns:a16="http://schemas.microsoft.com/office/drawing/2014/main" id="{DC56C3D7-2465-4C1E-B078-6DAC106C42FF}"/>
              </a:ext>
            </a:extLst>
          </p:cNvPr>
          <p:cNvSpPr/>
          <p:nvPr/>
        </p:nvSpPr>
        <p:spPr>
          <a:xfrm>
            <a:off x="358377" y="4416372"/>
            <a:ext cx="1103043" cy="36933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Database-level</a:t>
            </a:r>
          </a:p>
        </p:txBody>
      </p:sp>
      <p:sp>
        <p:nvSpPr>
          <p:cNvPr id="17" name="Rectangle 16">
            <a:extLst>
              <a:ext uri="{FF2B5EF4-FFF2-40B4-BE49-F238E27FC236}">
                <a16:creationId xmlns:a16="http://schemas.microsoft.com/office/drawing/2014/main" id="{726B0CED-CBED-760C-D875-F58C7DFDD0D1}"/>
              </a:ext>
            </a:extLst>
          </p:cNvPr>
          <p:cNvSpPr/>
          <p:nvPr/>
        </p:nvSpPr>
        <p:spPr>
          <a:xfrm>
            <a:off x="1759478" y="2869485"/>
            <a:ext cx="1103043" cy="36933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DOP Feedback</a:t>
            </a:r>
          </a:p>
        </p:txBody>
      </p:sp>
      <p:cxnSp>
        <p:nvCxnSpPr>
          <p:cNvPr id="19" name="Straight Arrow Connector 18">
            <a:extLst>
              <a:ext uri="{FF2B5EF4-FFF2-40B4-BE49-F238E27FC236}">
                <a16:creationId xmlns:a16="http://schemas.microsoft.com/office/drawing/2014/main" id="{C96C8C81-A05D-71B3-66A2-21C3D2CEFAD1}"/>
              </a:ext>
            </a:extLst>
          </p:cNvPr>
          <p:cNvCxnSpPr>
            <a:cxnSpLocks/>
          </p:cNvCxnSpPr>
          <p:nvPr/>
        </p:nvCxnSpPr>
        <p:spPr>
          <a:xfrm flipH="1">
            <a:off x="1094955" y="3032340"/>
            <a:ext cx="54703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2776807-B44D-B513-AC64-146FD3F132C1}"/>
              </a:ext>
            </a:extLst>
          </p:cNvPr>
          <p:cNvCxnSpPr>
            <a:cxnSpLocks/>
          </p:cNvCxnSpPr>
          <p:nvPr/>
        </p:nvCxnSpPr>
        <p:spPr>
          <a:xfrm>
            <a:off x="2998836" y="2417506"/>
            <a:ext cx="0" cy="4149213"/>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C446996-EFB2-7B08-B3B1-3F0FC4EAD5D9}"/>
              </a:ext>
            </a:extLst>
          </p:cNvPr>
          <p:cNvSpPr txBox="1"/>
          <p:nvPr/>
        </p:nvSpPr>
        <p:spPr>
          <a:xfrm>
            <a:off x="3339277" y="1994166"/>
            <a:ext cx="1978270" cy="276999"/>
          </a:xfrm>
          <a:prstGeom prst="rect">
            <a:avLst/>
          </a:prstGeom>
          <a:noFill/>
        </p:spPr>
        <p:txBody>
          <a:bodyPr wrap="square">
            <a:spAutoFit/>
          </a:bodyPr>
          <a:lstStyle>
            <a:defPPr>
              <a:defRPr lang="en-US"/>
            </a:defPPr>
            <a:lvl1pPr>
              <a:defRPr sz="1400" b="1">
                <a:solidFill>
                  <a:srgbClr val="0070C0"/>
                </a:soli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It works at the Plan-level</a:t>
            </a:r>
          </a:p>
        </p:txBody>
      </p:sp>
      <p:sp>
        <p:nvSpPr>
          <p:cNvPr id="25" name="Rectangle 24">
            <a:extLst>
              <a:ext uri="{FF2B5EF4-FFF2-40B4-BE49-F238E27FC236}">
                <a16:creationId xmlns:a16="http://schemas.microsoft.com/office/drawing/2014/main" id="{2BBC8AAF-4288-E784-184A-CF0ABBDE48FA}"/>
              </a:ext>
            </a:extLst>
          </p:cNvPr>
          <p:cNvSpPr/>
          <p:nvPr/>
        </p:nvSpPr>
        <p:spPr>
          <a:xfrm>
            <a:off x="3885316" y="2480288"/>
            <a:ext cx="886193" cy="36933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Query 1</a:t>
            </a:r>
          </a:p>
        </p:txBody>
      </p:sp>
      <p:sp>
        <p:nvSpPr>
          <p:cNvPr id="27" name="Rectangle 26">
            <a:extLst>
              <a:ext uri="{FF2B5EF4-FFF2-40B4-BE49-F238E27FC236}">
                <a16:creationId xmlns:a16="http://schemas.microsoft.com/office/drawing/2014/main" id="{6DC054E3-0B39-8A81-7EA7-919920DC1227}"/>
              </a:ext>
            </a:extLst>
          </p:cNvPr>
          <p:cNvSpPr/>
          <p:nvPr/>
        </p:nvSpPr>
        <p:spPr>
          <a:xfrm>
            <a:off x="4593218" y="3450506"/>
            <a:ext cx="886193" cy="36933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Plan 2</a:t>
            </a:r>
          </a:p>
        </p:txBody>
      </p:sp>
      <p:sp>
        <p:nvSpPr>
          <p:cNvPr id="28" name="Rectangle 27">
            <a:extLst>
              <a:ext uri="{FF2B5EF4-FFF2-40B4-BE49-F238E27FC236}">
                <a16:creationId xmlns:a16="http://schemas.microsoft.com/office/drawing/2014/main" id="{F5D3FCDF-E890-79BB-8CA2-05D5CE64E908}"/>
              </a:ext>
            </a:extLst>
          </p:cNvPr>
          <p:cNvSpPr/>
          <p:nvPr/>
        </p:nvSpPr>
        <p:spPr>
          <a:xfrm>
            <a:off x="3142443" y="3450506"/>
            <a:ext cx="886193" cy="36933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Plan 1</a:t>
            </a:r>
          </a:p>
        </p:txBody>
      </p:sp>
      <p:sp>
        <p:nvSpPr>
          <p:cNvPr id="29" name="Rectangle 28">
            <a:extLst>
              <a:ext uri="{FF2B5EF4-FFF2-40B4-BE49-F238E27FC236}">
                <a16:creationId xmlns:a16="http://schemas.microsoft.com/office/drawing/2014/main" id="{322E4FDE-6BC6-4FC7-63D1-BF57CFF9964B}"/>
              </a:ext>
            </a:extLst>
          </p:cNvPr>
          <p:cNvSpPr/>
          <p:nvPr/>
        </p:nvSpPr>
        <p:spPr>
          <a:xfrm>
            <a:off x="3142442" y="4565704"/>
            <a:ext cx="886193" cy="36933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Feedback 1</a:t>
            </a:r>
          </a:p>
        </p:txBody>
      </p:sp>
      <p:sp>
        <p:nvSpPr>
          <p:cNvPr id="30" name="Rectangle 29">
            <a:extLst>
              <a:ext uri="{FF2B5EF4-FFF2-40B4-BE49-F238E27FC236}">
                <a16:creationId xmlns:a16="http://schemas.microsoft.com/office/drawing/2014/main" id="{9A65D4D7-159A-2A6B-CF31-3F4AD11C689A}"/>
              </a:ext>
            </a:extLst>
          </p:cNvPr>
          <p:cNvSpPr/>
          <p:nvPr/>
        </p:nvSpPr>
        <p:spPr>
          <a:xfrm>
            <a:off x="4614358" y="4565704"/>
            <a:ext cx="886193" cy="369332"/>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Feedback 2</a:t>
            </a:r>
          </a:p>
        </p:txBody>
      </p:sp>
      <p:cxnSp>
        <p:nvCxnSpPr>
          <p:cNvPr id="31" name="Straight Arrow Connector 30">
            <a:extLst>
              <a:ext uri="{FF2B5EF4-FFF2-40B4-BE49-F238E27FC236}">
                <a16:creationId xmlns:a16="http://schemas.microsoft.com/office/drawing/2014/main" id="{B327BF05-0817-F71B-E7FB-F3280007A4FF}"/>
              </a:ext>
            </a:extLst>
          </p:cNvPr>
          <p:cNvCxnSpPr>
            <a:cxnSpLocks/>
          </p:cNvCxnSpPr>
          <p:nvPr/>
        </p:nvCxnSpPr>
        <p:spPr>
          <a:xfrm flipH="1">
            <a:off x="3548514" y="2945488"/>
            <a:ext cx="431657" cy="47983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ED1F851A-E77A-D105-659F-9D21BB83175D}"/>
              </a:ext>
            </a:extLst>
          </p:cNvPr>
          <p:cNvCxnSpPr>
            <a:cxnSpLocks/>
          </p:cNvCxnSpPr>
          <p:nvPr/>
        </p:nvCxnSpPr>
        <p:spPr>
          <a:xfrm>
            <a:off x="4655414" y="2927309"/>
            <a:ext cx="421705" cy="51619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4B9A711-3401-F2EE-4CFC-826869D10F2D}"/>
              </a:ext>
            </a:extLst>
          </p:cNvPr>
          <p:cNvCxnSpPr>
            <a:cxnSpLocks/>
          </p:cNvCxnSpPr>
          <p:nvPr/>
        </p:nvCxnSpPr>
        <p:spPr>
          <a:xfrm>
            <a:off x="5068715" y="3874731"/>
            <a:ext cx="0" cy="68114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0C9B2906-BC5E-EDDF-3559-9D87DDBDA7D0}"/>
              </a:ext>
            </a:extLst>
          </p:cNvPr>
          <p:cNvCxnSpPr>
            <a:cxnSpLocks/>
          </p:cNvCxnSpPr>
          <p:nvPr/>
        </p:nvCxnSpPr>
        <p:spPr>
          <a:xfrm flipH="1">
            <a:off x="3543300" y="3847284"/>
            <a:ext cx="11438" cy="70566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ABB5B0F0-3584-06A4-B736-D6CFD7F790BF}"/>
              </a:ext>
            </a:extLst>
          </p:cNvPr>
          <p:cNvSpPr txBox="1"/>
          <p:nvPr/>
        </p:nvSpPr>
        <p:spPr>
          <a:xfrm>
            <a:off x="8960276" y="1994166"/>
            <a:ext cx="3015550" cy="277000"/>
          </a:xfrm>
          <a:prstGeom prst="rect">
            <a:avLst/>
          </a:prstGeom>
          <a:noFill/>
        </p:spPr>
        <p:txBody>
          <a:bodyPr wrap="square">
            <a:spAutoFit/>
          </a:bodyPr>
          <a:lstStyle>
            <a:defPPr>
              <a:defRPr lang="en-US"/>
            </a:defPPr>
            <a:lvl1pPr>
              <a:defRPr sz="1400" b="1">
                <a:solidFill>
                  <a:srgbClr val="0070C0"/>
                </a:soli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Uses a pre-defined DOP array of values</a:t>
            </a:r>
          </a:p>
        </p:txBody>
      </p:sp>
      <p:sp>
        <p:nvSpPr>
          <p:cNvPr id="51" name="TextBox 50">
            <a:extLst>
              <a:ext uri="{FF2B5EF4-FFF2-40B4-BE49-F238E27FC236}">
                <a16:creationId xmlns:a16="http://schemas.microsoft.com/office/drawing/2014/main" id="{40EFEEE7-647C-354E-3545-B63F4C1BDC81}"/>
              </a:ext>
            </a:extLst>
          </p:cNvPr>
          <p:cNvSpPr txBox="1"/>
          <p:nvPr/>
        </p:nvSpPr>
        <p:spPr>
          <a:xfrm>
            <a:off x="8960276" y="2515523"/>
            <a:ext cx="3062476" cy="2862322"/>
          </a:xfrm>
          <a:prstGeom prst="rect">
            <a:avLst/>
          </a:prstGeom>
          <a:solidFill>
            <a:srgbClr val="0070C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128,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104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80,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64,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48,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32,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20,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16,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12,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8,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6,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4,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a:t>
            </a:r>
          </a:p>
        </p:txBody>
      </p:sp>
      <p:cxnSp>
        <p:nvCxnSpPr>
          <p:cNvPr id="8" name="Straight Connector 7">
            <a:extLst>
              <a:ext uri="{FF2B5EF4-FFF2-40B4-BE49-F238E27FC236}">
                <a16:creationId xmlns:a16="http://schemas.microsoft.com/office/drawing/2014/main" id="{F0C11712-C74C-3A6F-AAC0-051DB60F7E0A}"/>
              </a:ext>
            </a:extLst>
          </p:cNvPr>
          <p:cNvCxnSpPr>
            <a:cxnSpLocks/>
          </p:cNvCxnSpPr>
          <p:nvPr/>
        </p:nvCxnSpPr>
        <p:spPr>
          <a:xfrm>
            <a:off x="5624064" y="2498006"/>
            <a:ext cx="0" cy="4149213"/>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85D5290-7EB0-1AD2-A306-9499478E8921}"/>
              </a:ext>
            </a:extLst>
          </p:cNvPr>
          <p:cNvCxnSpPr>
            <a:cxnSpLocks/>
          </p:cNvCxnSpPr>
          <p:nvPr/>
        </p:nvCxnSpPr>
        <p:spPr>
          <a:xfrm>
            <a:off x="8824465" y="2493094"/>
            <a:ext cx="0" cy="4149213"/>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B04DE0F-8C6C-2548-0F73-5F7E9CB83D55}"/>
              </a:ext>
            </a:extLst>
          </p:cNvPr>
          <p:cNvSpPr txBox="1"/>
          <p:nvPr/>
        </p:nvSpPr>
        <p:spPr>
          <a:xfrm>
            <a:off x="6125495" y="1986073"/>
            <a:ext cx="2135299" cy="276999"/>
          </a:xfrm>
          <a:prstGeom prst="rect">
            <a:avLst/>
          </a:prstGeom>
          <a:noFill/>
        </p:spPr>
        <p:txBody>
          <a:bodyPr wrap="square">
            <a:spAutoFit/>
          </a:bodyPr>
          <a:lstStyle>
            <a:defPPr>
              <a:defRPr lang="en-US"/>
            </a:defPPr>
            <a:lvl1pPr>
              <a:defRPr sz="1400" b="1">
                <a:solidFill>
                  <a:srgbClr val="0070C0"/>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Segoe UI" panose="020B0502040204020203" pitchFamily="34" charset="0"/>
                <a:ea typeface="+mn-ea"/>
                <a:cs typeface="Segoe UI" panose="020B0502040204020203" pitchFamily="34" charset="0"/>
              </a:rPr>
              <a:t>Iterative and Incremental</a:t>
            </a:r>
          </a:p>
        </p:txBody>
      </p:sp>
      <p:grpSp>
        <p:nvGrpSpPr>
          <p:cNvPr id="11" name="Group 10">
            <a:extLst>
              <a:ext uri="{FF2B5EF4-FFF2-40B4-BE49-F238E27FC236}">
                <a16:creationId xmlns:a16="http://schemas.microsoft.com/office/drawing/2014/main" id="{3C083ED4-46A1-DE4D-6BC7-C4C27BAEAC76}"/>
              </a:ext>
            </a:extLst>
          </p:cNvPr>
          <p:cNvGrpSpPr/>
          <p:nvPr/>
        </p:nvGrpSpPr>
        <p:grpSpPr>
          <a:xfrm>
            <a:off x="6104309" y="2379788"/>
            <a:ext cx="2125300" cy="2102796"/>
            <a:chOff x="6104309" y="2379788"/>
            <a:chExt cx="2125300" cy="2102796"/>
          </a:xfrm>
        </p:grpSpPr>
        <p:sp>
          <p:nvSpPr>
            <p:cNvPr id="12" name="Freeform: Shape 11">
              <a:extLst>
                <a:ext uri="{FF2B5EF4-FFF2-40B4-BE49-F238E27FC236}">
                  <a16:creationId xmlns:a16="http://schemas.microsoft.com/office/drawing/2014/main" id="{54C4DB07-4544-859D-4644-92A2A07A50C3}"/>
                </a:ext>
              </a:extLst>
            </p:cNvPr>
            <p:cNvSpPr/>
            <p:nvPr/>
          </p:nvSpPr>
          <p:spPr>
            <a:xfrm>
              <a:off x="7437439" y="2535889"/>
              <a:ext cx="792170" cy="792170"/>
            </a:xfrm>
            <a:custGeom>
              <a:avLst/>
              <a:gdLst>
                <a:gd name="connsiteX0" fmla="*/ 0 w 792170"/>
                <a:gd name="connsiteY0" fmla="*/ 0 h 792170"/>
                <a:gd name="connsiteX1" fmla="*/ 792170 w 792170"/>
                <a:gd name="connsiteY1" fmla="*/ 0 h 792170"/>
                <a:gd name="connsiteX2" fmla="*/ 792170 w 792170"/>
                <a:gd name="connsiteY2" fmla="*/ 792170 h 792170"/>
                <a:gd name="connsiteX3" fmla="*/ 0 w 792170"/>
                <a:gd name="connsiteY3" fmla="*/ 792170 h 792170"/>
                <a:gd name="connsiteX4" fmla="*/ 0 w 792170"/>
                <a:gd name="connsiteY4" fmla="*/ 0 h 79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170" h="792170">
                  <a:moveTo>
                    <a:pt x="0" y="0"/>
                  </a:moveTo>
                  <a:lnTo>
                    <a:pt x="792170" y="0"/>
                  </a:lnTo>
                  <a:lnTo>
                    <a:pt x="792170" y="792170"/>
                  </a:lnTo>
                  <a:lnTo>
                    <a:pt x="0" y="79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CA" sz="1500" kern="1200" dirty="0">
                  <a:solidFill>
                    <a:srgbClr val="0070C0"/>
                  </a:solidFill>
                </a:rPr>
                <a:t>Analyze</a:t>
              </a:r>
            </a:p>
          </p:txBody>
        </p:sp>
        <p:sp>
          <p:nvSpPr>
            <p:cNvPr id="18" name="Arrow: Circular 17">
              <a:extLst>
                <a:ext uri="{FF2B5EF4-FFF2-40B4-BE49-F238E27FC236}">
                  <a16:creationId xmlns:a16="http://schemas.microsoft.com/office/drawing/2014/main" id="{7067B956-6F1F-287A-DAE7-87BA84951D0F}"/>
                </a:ext>
              </a:extLst>
            </p:cNvPr>
            <p:cNvSpPr/>
            <p:nvPr/>
          </p:nvSpPr>
          <p:spPr>
            <a:xfrm>
              <a:off x="6229930" y="2379788"/>
              <a:ext cx="1874058" cy="1874058"/>
            </a:xfrm>
            <a:prstGeom prst="circularArrow">
              <a:avLst>
                <a:gd name="adj1" fmla="val 8243"/>
                <a:gd name="adj2" fmla="val 575627"/>
                <a:gd name="adj3" fmla="val 2966096"/>
                <a:gd name="adj4" fmla="val 50221"/>
                <a:gd name="adj5" fmla="val 9616"/>
              </a:avLst>
            </a:pr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20" name="Freeform: Shape 19">
              <a:extLst>
                <a:ext uri="{FF2B5EF4-FFF2-40B4-BE49-F238E27FC236}">
                  <a16:creationId xmlns:a16="http://schemas.microsoft.com/office/drawing/2014/main" id="{700E089E-2D1B-53D1-7C32-E96154A8A78F}"/>
                </a:ext>
              </a:extLst>
            </p:cNvPr>
            <p:cNvSpPr/>
            <p:nvPr/>
          </p:nvSpPr>
          <p:spPr>
            <a:xfrm>
              <a:off x="6770874" y="3690414"/>
              <a:ext cx="792170" cy="792170"/>
            </a:xfrm>
            <a:custGeom>
              <a:avLst/>
              <a:gdLst>
                <a:gd name="connsiteX0" fmla="*/ 0 w 792170"/>
                <a:gd name="connsiteY0" fmla="*/ 0 h 792170"/>
                <a:gd name="connsiteX1" fmla="*/ 792170 w 792170"/>
                <a:gd name="connsiteY1" fmla="*/ 0 h 792170"/>
                <a:gd name="connsiteX2" fmla="*/ 792170 w 792170"/>
                <a:gd name="connsiteY2" fmla="*/ 792170 h 792170"/>
                <a:gd name="connsiteX3" fmla="*/ 0 w 792170"/>
                <a:gd name="connsiteY3" fmla="*/ 792170 h 792170"/>
                <a:gd name="connsiteX4" fmla="*/ 0 w 792170"/>
                <a:gd name="connsiteY4" fmla="*/ 0 h 79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170" h="792170">
                  <a:moveTo>
                    <a:pt x="0" y="0"/>
                  </a:moveTo>
                  <a:lnTo>
                    <a:pt x="792170" y="0"/>
                  </a:lnTo>
                  <a:lnTo>
                    <a:pt x="792170" y="792170"/>
                  </a:lnTo>
                  <a:lnTo>
                    <a:pt x="0" y="79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CA" sz="1500" kern="1200" dirty="0">
                  <a:solidFill>
                    <a:srgbClr val="0070C0"/>
                  </a:solidFill>
                </a:rPr>
                <a:t>Provide Feedback</a:t>
              </a:r>
            </a:p>
          </p:txBody>
        </p:sp>
        <p:sp>
          <p:nvSpPr>
            <p:cNvPr id="21" name="Arrow: Circular 20">
              <a:extLst>
                <a:ext uri="{FF2B5EF4-FFF2-40B4-BE49-F238E27FC236}">
                  <a16:creationId xmlns:a16="http://schemas.microsoft.com/office/drawing/2014/main" id="{18258525-5234-1AC1-862B-D83A86724708}"/>
                </a:ext>
              </a:extLst>
            </p:cNvPr>
            <p:cNvSpPr/>
            <p:nvPr/>
          </p:nvSpPr>
          <p:spPr>
            <a:xfrm>
              <a:off x="6229930" y="2379788"/>
              <a:ext cx="1874058" cy="1874058"/>
            </a:xfrm>
            <a:prstGeom prst="circularArrow">
              <a:avLst>
                <a:gd name="adj1" fmla="val 8243"/>
                <a:gd name="adj2" fmla="val 575627"/>
                <a:gd name="adj3" fmla="val 10174151"/>
                <a:gd name="adj4" fmla="val 7258276"/>
                <a:gd name="adj5" fmla="val 9616"/>
              </a:avLst>
            </a:pr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22" name="Freeform: Shape 21">
              <a:extLst>
                <a:ext uri="{FF2B5EF4-FFF2-40B4-BE49-F238E27FC236}">
                  <a16:creationId xmlns:a16="http://schemas.microsoft.com/office/drawing/2014/main" id="{44D9DCBE-0E54-FBE1-12D3-331224DF41AF}"/>
                </a:ext>
              </a:extLst>
            </p:cNvPr>
            <p:cNvSpPr/>
            <p:nvPr/>
          </p:nvSpPr>
          <p:spPr>
            <a:xfrm>
              <a:off x="6104309" y="2535889"/>
              <a:ext cx="792170" cy="792170"/>
            </a:xfrm>
            <a:custGeom>
              <a:avLst/>
              <a:gdLst>
                <a:gd name="connsiteX0" fmla="*/ 0 w 792170"/>
                <a:gd name="connsiteY0" fmla="*/ 0 h 792170"/>
                <a:gd name="connsiteX1" fmla="*/ 792170 w 792170"/>
                <a:gd name="connsiteY1" fmla="*/ 0 h 792170"/>
                <a:gd name="connsiteX2" fmla="*/ 792170 w 792170"/>
                <a:gd name="connsiteY2" fmla="*/ 792170 h 792170"/>
                <a:gd name="connsiteX3" fmla="*/ 0 w 792170"/>
                <a:gd name="connsiteY3" fmla="*/ 792170 h 792170"/>
                <a:gd name="connsiteX4" fmla="*/ 0 w 792170"/>
                <a:gd name="connsiteY4" fmla="*/ 0 h 792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170" h="792170">
                  <a:moveTo>
                    <a:pt x="0" y="0"/>
                  </a:moveTo>
                  <a:lnTo>
                    <a:pt x="792170" y="0"/>
                  </a:lnTo>
                  <a:lnTo>
                    <a:pt x="792170" y="792170"/>
                  </a:lnTo>
                  <a:lnTo>
                    <a:pt x="0" y="7921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CA" sz="1500" kern="1200" dirty="0">
                  <a:solidFill>
                    <a:srgbClr val="0070C0"/>
                  </a:solidFill>
                </a:rPr>
                <a:t>Validate</a:t>
              </a:r>
            </a:p>
          </p:txBody>
        </p:sp>
        <p:sp>
          <p:nvSpPr>
            <p:cNvPr id="26" name="Arrow: Circular 25">
              <a:extLst>
                <a:ext uri="{FF2B5EF4-FFF2-40B4-BE49-F238E27FC236}">
                  <a16:creationId xmlns:a16="http://schemas.microsoft.com/office/drawing/2014/main" id="{3E9DE631-2B52-4485-352D-756CEBE6FC88}"/>
                </a:ext>
              </a:extLst>
            </p:cNvPr>
            <p:cNvSpPr/>
            <p:nvPr/>
          </p:nvSpPr>
          <p:spPr>
            <a:xfrm>
              <a:off x="6229930" y="2379788"/>
              <a:ext cx="1874058" cy="1874058"/>
            </a:xfrm>
            <a:prstGeom prst="circularArrow">
              <a:avLst>
                <a:gd name="adj1" fmla="val 8243"/>
                <a:gd name="adj2" fmla="val 575627"/>
                <a:gd name="adj3" fmla="val 16858814"/>
                <a:gd name="adj4" fmla="val 14965559"/>
                <a:gd name="adj5" fmla="val 9616"/>
              </a:avLst>
            </a:pr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grpSp>
      <p:pic>
        <p:nvPicPr>
          <p:cNvPr id="41" name="Picture 40">
            <a:extLst>
              <a:ext uri="{FF2B5EF4-FFF2-40B4-BE49-F238E27FC236}">
                <a16:creationId xmlns:a16="http://schemas.microsoft.com/office/drawing/2014/main" id="{148C3482-FB2E-8445-1A3C-9073658B875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812"/>
                    </a14:imgEffect>
                    <a14:imgEffect>
                      <a14:saturation sat="99000"/>
                    </a14:imgEffect>
                  </a14:imgLayer>
                </a14:imgProps>
              </a:ext>
            </a:extLst>
          </a:blip>
          <a:stretch>
            <a:fillRect/>
          </a:stretch>
        </p:blipFill>
        <p:spPr>
          <a:xfrm>
            <a:off x="6205790" y="4620066"/>
            <a:ext cx="1913403" cy="1965681"/>
          </a:xfrm>
          <a:prstGeom prst="rect">
            <a:avLst/>
          </a:prstGeom>
          <a:noFill/>
        </p:spPr>
      </p:pic>
      <p:sp>
        <p:nvSpPr>
          <p:cNvPr id="4" name="TextBox 3">
            <a:extLst>
              <a:ext uri="{FF2B5EF4-FFF2-40B4-BE49-F238E27FC236}">
                <a16:creationId xmlns:a16="http://schemas.microsoft.com/office/drawing/2014/main" id="{2FDE502C-2000-8083-B205-EE078C27EA84}"/>
              </a:ext>
            </a:extLst>
          </p:cNvPr>
          <p:cNvSpPr txBox="1"/>
          <p:nvPr/>
        </p:nvSpPr>
        <p:spPr>
          <a:xfrm>
            <a:off x="282283" y="621066"/>
            <a:ext cx="8013991" cy="523220"/>
          </a:xfrm>
          <a:prstGeom prst="rect">
            <a:avLst/>
          </a:prstGeom>
          <a:noFill/>
        </p:spPr>
        <p:txBody>
          <a:bodyPr wrap="square" rtlCol="0">
            <a:spAutoFit/>
          </a:bodyPr>
          <a:lstStyle/>
          <a:p>
            <a:r>
              <a:rPr lang="en-CA" sz="2800" b="1" dirty="0">
                <a:solidFill>
                  <a:srgbClr val="FF0000"/>
                </a:solidFill>
                <a:latin typeface="Segoe UI" panose="020B0502040204020203" pitchFamily="34" charset="0"/>
                <a:cs typeface="Segoe UI" panose="020B0502040204020203" pitchFamily="34" charset="0"/>
              </a:rPr>
              <a:t>Introducing DOP Feedback</a:t>
            </a:r>
            <a:endParaRPr lang="en-CA" sz="2800" dirty="0">
              <a:solidFill>
                <a:srgbClr val="FF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651178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969FAC2-E800-BA6C-BF40-540D8DB18464}"/>
              </a:ext>
            </a:extLst>
          </p:cNvPr>
          <p:cNvPicPr>
            <a:picLocks noChangeAspect="1"/>
          </p:cNvPicPr>
          <p:nvPr/>
        </p:nvPicPr>
        <p:blipFill>
          <a:blip r:embed="rId3"/>
          <a:stretch>
            <a:fillRect/>
          </a:stretch>
        </p:blipFill>
        <p:spPr>
          <a:xfrm>
            <a:off x="768450" y="1182230"/>
            <a:ext cx="10655100" cy="5167536"/>
          </a:xfrm>
          <a:prstGeom prst="rect">
            <a:avLst/>
          </a:prstGeom>
        </p:spPr>
      </p:pic>
      <p:sp>
        <p:nvSpPr>
          <p:cNvPr id="3" name="TextBox 2">
            <a:extLst>
              <a:ext uri="{FF2B5EF4-FFF2-40B4-BE49-F238E27FC236}">
                <a16:creationId xmlns:a16="http://schemas.microsoft.com/office/drawing/2014/main" id="{C705D198-59F9-4EAD-5CBC-9E5EC56A8A79}"/>
              </a:ext>
            </a:extLst>
          </p:cNvPr>
          <p:cNvSpPr txBox="1"/>
          <p:nvPr/>
        </p:nvSpPr>
        <p:spPr>
          <a:xfrm>
            <a:off x="282283" y="621066"/>
            <a:ext cx="8013991" cy="523220"/>
          </a:xfrm>
          <a:prstGeom prst="rect">
            <a:avLst/>
          </a:prstGeom>
          <a:noFill/>
        </p:spPr>
        <p:txBody>
          <a:bodyPr wrap="square" rtlCol="0">
            <a:spAutoFit/>
          </a:bodyPr>
          <a:lstStyle/>
          <a:p>
            <a:r>
              <a:rPr lang="en-CA" sz="2800" b="1" dirty="0">
                <a:solidFill>
                  <a:srgbClr val="FF0000"/>
                </a:solidFill>
                <a:latin typeface="Segoe UI" panose="020B0502040204020203" pitchFamily="34" charset="0"/>
                <a:cs typeface="Segoe UI" panose="020B0502040204020203" pitchFamily="34" charset="0"/>
              </a:rPr>
              <a:t>DOP Feedback Workflow</a:t>
            </a:r>
            <a:endParaRPr lang="en-CA" sz="2800" dirty="0">
              <a:solidFill>
                <a:srgbClr val="FF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194998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extBox 3">
            <a:extLst>
              <a:ext uri="{FF2B5EF4-FFF2-40B4-BE49-F238E27FC236}">
                <a16:creationId xmlns:a16="http://schemas.microsoft.com/office/drawing/2014/main" id="{E73D01F8-477E-CA42-4B7A-98852CD15909}"/>
              </a:ext>
            </a:extLst>
          </p:cNvPr>
          <p:cNvGraphicFramePr/>
          <p:nvPr/>
        </p:nvGraphicFramePr>
        <p:xfrm>
          <a:off x="523875" y="1344155"/>
          <a:ext cx="10363200" cy="44670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DB009DBA-01C2-F8C9-33ED-60D78A955B97}"/>
              </a:ext>
            </a:extLst>
          </p:cNvPr>
          <p:cNvSpPr txBox="1"/>
          <p:nvPr/>
        </p:nvSpPr>
        <p:spPr>
          <a:xfrm>
            <a:off x="282283" y="621066"/>
            <a:ext cx="8013991" cy="523220"/>
          </a:xfrm>
          <a:prstGeom prst="rect">
            <a:avLst/>
          </a:prstGeom>
          <a:noFill/>
        </p:spPr>
        <p:txBody>
          <a:bodyPr wrap="square" rtlCol="0">
            <a:spAutoFit/>
          </a:bodyPr>
          <a:lstStyle/>
          <a:p>
            <a:r>
              <a:rPr lang="en-CA" sz="2800" b="1" dirty="0">
                <a:solidFill>
                  <a:srgbClr val="FF0000"/>
                </a:solidFill>
                <a:latin typeface="Segoe UI" panose="020B0502040204020203" pitchFamily="34" charset="0"/>
                <a:cs typeface="Segoe UI" panose="020B0502040204020203" pitchFamily="34" charset="0"/>
              </a:rPr>
              <a:t>Eligibility Criteria</a:t>
            </a:r>
            <a:endParaRPr lang="en-CA" sz="2800" dirty="0">
              <a:solidFill>
                <a:srgbClr val="FF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111901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8D75ECD-DCAB-587B-08FE-D85CEE8DA330}"/>
              </a:ext>
            </a:extLst>
          </p:cNvPr>
          <p:cNvSpPr txBox="1"/>
          <p:nvPr/>
        </p:nvSpPr>
        <p:spPr>
          <a:xfrm>
            <a:off x="453510" y="1423426"/>
            <a:ext cx="5004618" cy="2554545"/>
          </a:xfrm>
          <a:prstGeom prst="rect">
            <a:avLst/>
          </a:prstGeom>
          <a:solidFill>
            <a:srgbClr val="0070C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err="1">
                <a:ln>
                  <a:noFill/>
                </a:ln>
                <a:solidFill>
                  <a:prstClr val="white"/>
                </a:solidFill>
                <a:effectLst/>
                <a:uLnTx/>
                <a:uFillTx/>
                <a:latin typeface="Calibri" panose="020F0502020204030204"/>
                <a:ea typeface="+mn-ea"/>
                <a:cs typeface="+mn-cs"/>
              </a:rPr>
              <a:t>XEvents</a:t>
            </a:r>
            <a:r>
              <a:rPr kumimoji="0" lang="en-CA" sz="1400" b="1" i="0" u="none" strike="noStrike" kern="1200" cap="none" spc="0" normalizeH="0" baseline="0" noProof="0" dirty="0">
                <a:ln>
                  <a:noFill/>
                </a:ln>
                <a:solidFill>
                  <a:prstClr val="white"/>
                </a:solidFill>
                <a:effectLst/>
                <a:uLnTx/>
                <a:uFillTx/>
                <a:latin typeface="Calibri" panose="020F0502020204030204"/>
                <a:ea typeface="+mn-ea"/>
                <a:cs typeface="+mn-cs"/>
              </a:rPr>
              <a:t>: 7 new ev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rPr>
              <a:t>dop_feedback__</a:t>
            </a:r>
            <a:r>
              <a:rPr kumimoji="0" lang="en-CA" sz="1200" b="0" i="1" u="none" strike="noStrike" kern="1200" cap="none" spc="0" normalizeH="0" baseline="0" noProof="0" dirty="0" err="1">
                <a:ln>
                  <a:noFill/>
                </a:ln>
                <a:solidFill>
                  <a:prstClr val="white"/>
                </a:solidFill>
                <a:effectLst/>
                <a:uLnTx/>
                <a:uFillTx/>
                <a:latin typeface="Calibri" panose="020F0502020204030204"/>
                <a:ea typeface="+mn-ea"/>
                <a:cs typeface="+mn-cs"/>
              </a:rPr>
              <a:t>eligible_query</a:t>
            </a:r>
            <a:endPar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rPr>
              <a:t>dop_feedback__</a:t>
            </a:r>
            <a:r>
              <a:rPr kumimoji="0" lang="en-CA" sz="1200" b="0" i="1" u="none" strike="noStrike" kern="1200" cap="none" spc="0" normalizeH="0" baseline="0" noProof="0" dirty="0" err="1">
                <a:ln>
                  <a:noFill/>
                </a:ln>
                <a:solidFill>
                  <a:prstClr val="white"/>
                </a:solidFill>
                <a:effectLst/>
                <a:uLnTx/>
                <a:uFillTx/>
                <a:latin typeface="Calibri" panose="020F0502020204030204"/>
                <a:ea typeface="+mn-ea"/>
                <a:cs typeface="+mn-cs"/>
              </a:rPr>
              <a:t>analysis_stopped</a:t>
            </a:r>
            <a:endPar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1" u="none" strike="noStrike" kern="1200" cap="none" spc="0" normalizeH="0" baseline="0" noProof="0" dirty="0" err="1">
                <a:ln>
                  <a:noFill/>
                </a:ln>
                <a:solidFill>
                  <a:prstClr val="white"/>
                </a:solidFill>
                <a:effectLst/>
                <a:uLnTx/>
                <a:uFillTx/>
                <a:latin typeface="Calibri" panose="020F0502020204030204"/>
                <a:ea typeface="+mn-ea"/>
                <a:cs typeface="+mn-cs"/>
              </a:rPr>
              <a:t>dop_feedback__provided</a:t>
            </a:r>
            <a:endPar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1" u="none" strike="noStrike" kern="1200" cap="none" spc="0" normalizeH="0" baseline="0" noProof="0" dirty="0" err="1">
                <a:ln>
                  <a:noFill/>
                </a:ln>
                <a:solidFill>
                  <a:prstClr val="white"/>
                </a:solidFill>
                <a:effectLst/>
                <a:uLnTx/>
                <a:uFillTx/>
                <a:latin typeface="Calibri" panose="020F0502020204030204"/>
                <a:ea typeface="+mn-ea"/>
                <a:cs typeface="+mn-cs"/>
              </a:rPr>
              <a:t>dop_feedback__validation</a:t>
            </a:r>
            <a:endPar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1" u="none" strike="noStrike" kern="1200" cap="none" spc="0" normalizeH="0" baseline="0" noProof="0" dirty="0" err="1">
                <a:ln>
                  <a:noFill/>
                </a:ln>
                <a:solidFill>
                  <a:prstClr val="white"/>
                </a:solidFill>
                <a:effectLst/>
                <a:uLnTx/>
                <a:uFillTx/>
                <a:latin typeface="Calibri" panose="020F0502020204030204"/>
                <a:ea typeface="+mn-ea"/>
                <a:cs typeface="+mn-cs"/>
              </a:rPr>
              <a:t>dop_feedback__stabilized</a:t>
            </a:r>
            <a:endPar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1" u="none" strike="noStrike" kern="1200" cap="none" spc="0" normalizeH="0" baseline="0" noProof="0" dirty="0" err="1">
                <a:ln>
                  <a:noFill/>
                </a:ln>
                <a:solidFill>
                  <a:prstClr val="white"/>
                </a:solidFill>
                <a:effectLst/>
                <a:uLnTx/>
                <a:uFillTx/>
                <a:latin typeface="Calibri" panose="020F0502020204030204"/>
                <a:ea typeface="+mn-ea"/>
                <a:cs typeface="+mn-cs"/>
              </a:rPr>
              <a:t>dop_feedback__reverted</a:t>
            </a:r>
            <a:endPar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rPr>
              <a:t>dop_feedback__</a:t>
            </a:r>
            <a:r>
              <a:rPr kumimoji="0" lang="en-CA" sz="1200" b="0" i="1" u="none" strike="noStrike" kern="1200" cap="none" spc="0" normalizeH="0" baseline="0" noProof="0" dirty="0" err="1">
                <a:ln>
                  <a:noFill/>
                </a:ln>
                <a:solidFill>
                  <a:prstClr val="white"/>
                </a:solidFill>
                <a:effectLst/>
                <a:uLnTx/>
                <a:uFillTx/>
                <a:latin typeface="Calibri" panose="020F0502020204030204"/>
                <a:ea typeface="+mn-ea"/>
                <a:cs typeface="+mn-cs"/>
              </a:rPr>
              <a:t>reassessment_failed</a:t>
            </a:r>
            <a:endPar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white"/>
                </a:solidFill>
                <a:effectLst/>
                <a:uLnTx/>
                <a:uFillTx/>
                <a:latin typeface="Calibri" panose="020F0502020204030204"/>
                <a:ea typeface="+mn-ea"/>
                <a:cs typeface="+mn-cs"/>
              </a:rPr>
              <a:t>Helps in understanding which state the query currently is within the DOP Feedback workfl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20CCFDE-4A1C-6297-FFFD-5F4E8C214551}"/>
              </a:ext>
            </a:extLst>
          </p:cNvPr>
          <p:cNvSpPr txBox="1"/>
          <p:nvPr/>
        </p:nvSpPr>
        <p:spPr>
          <a:xfrm>
            <a:off x="5536788" y="1423426"/>
            <a:ext cx="5004618" cy="600164"/>
          </a:xfrm>
          <a:prstGeom prst="rect">
            <a:avLst/>
          </a:prstGeom>
          <a:solidFill>
            <a:srgbClr val="0070C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1" i="0" u="none" strike="noStrike" kern="1200" cap="none" spc="0" normalizeH="0" baseline="0" noProof="0" dirty="0">
                <a:ln>
                  <a:noFill/>
                </a:ln>
                <a:solidFill>
                  <a:prstClr val="white"/>
                </a:solidFill>
                <a:effectLst/>
                <a:uLnTx/>
                <a:uFillTx/>
                <a:latin typeface="Calibri" panose="020F0502020204030204"/>
                <a:ea typeface="+mn-ea"/>
                <a:cs typeface="+mn-cs"/>
              </a:rPr>
              <a:t>DMVs: </a:t>
            </a:r>
            <a:r>
              <a:rPr kumimoji="0" lang="en-CA" sz="1100" b="0" i="1" u="none" strike="noStrike" kern="1200" cap="none" spc="0" normalizeH="0" baseline="0" noProof="0" dirty="0" err="1">
                <a:ln>
                  <a:noFill/>
                </a:ln>
                <a:solidFill>
                  <a:prstClr val="white"/>
                </a:solidFill>
                <a:effectLst/>
                <a:uLnTx/>
                <a:uFillTx/>
                <a:latin typeface="Calibri" panose="020F0502020204030204"/>
                <a:ea typeface="+mn-ea"/>
                <a:cs typeface="+mn-cs"/>
              </a:rPr>
              <a:t>sys.query_store_plan_feedback</a:t>
            </a:r>
            <a:endParaRPr kumimoji="0" lang="en-CA" sz="11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prstClr val="white"/>
                </a:solidFill>
                <a:effectLst/>
                <a:uLnTx/>
                <a:uFillTx/>
                <a:latin typeface="Calibri" panose="020F0502020204030204"/>
                <a:ea typeface="+mn-ea"/>
                <a:cs typeface="+mn-cs"/>
              </a:rPr>
              <a:t>Where feedback is persisted.</a:t>
            </a:r>
          </a:p>
        </p:txBody>
      </p:sp>
      <p:sp>
        <p:nvSpPr>
          <p:cNvPr id="7" name="TextBox 6">
            <a:extLst>
              <a:ext uri="{FF2B5EF4-FFF2-40B4-BE49-F238E27FC236}">
                <a16:creationId xmlns:a16="http://schemas.microsoft.com/office/drawing/2014/main" id="{16668433-8096-0CBB-13A5-B5C7B72DCCB0}"/>
              </a:ext>
            </a:extLst>
          </p:cNvPr>
          <p:cNvSpPr txBox="1"/>
          <p:nvPr/>
        </p:nvSpPr>
        <p:spPr>
          <a:xfrm>
            <a:off x="453508" y="4091100"/>
            <a:ext cx="10087898" cy="1938992"/>
          </a:xfrm>
          <a:prstGeom prst="rect">
            <a:avLst/>
          </a:prstGeom>
          <a:solidFill>
            <a:srgbClr val="0070C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white"/>
                </a:solidFill>
                <a:effectLst/>
                <a:uLnTx/>
                <a:uFillTx/>
                <a:latin typeface="Calibri" panose="020F0502020204030204"/>
                <a:ea typeface="+mn-ea"/>
                <a:cs typeface="+mn-cs"/>
              </a:rPr>
              <a:t>SHOWPLAN XM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white"/>
                </a:solidFill>
                <a:effectLst/>
                <a:uLnTx/>
                <a:uFillTx/>
                <a:latin typeface="Calibri" panose="020F0502020204030204"/>
                <a:ea typeface="+mn-ea"/>
                <a:cs typeface="+mn-cs"/>
              </a:rPr>
              <a:t>New attributed: </a:t>
            </a:r>
            <a:r>
              <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CA" sz="1200" b="0" i="1" u="none" strike="noStrike" kern="1200" cap="none" spc="0" normalizeH="0" baseline="0" noProof="0" dirty="0" err="1">
                <a:ln>
                  <a:noFill/>
                </a:ln>
                <a:solidFill>
                  <a:prstClr val="white"/>
                </a:solidFill>
                <a:effectLst/>
                <a:uLnTx/>
                <a:uFillTx/>
                <a:latin typeface="Calibri" panose="020F0502020204030204"/>
                <a:ea typeface="+mn-ea"/>
                <a:cs typeface="+mn-cs"/>
              </a:rPr>
              <a:t>IsDOPFeedbackAdjusted</a:t>
            </a:r>
            <a:r>
              <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rPr>
              <a:t>” </a:t>
            </a:r>
            <a:br>
              <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rPr>
            </a:br>
            <a:br>
              <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CA" sz="1200" b="0" i="0" u="none" strike="noStrike" kern="1200" cap="none" spc="0" normalizeH="0" baseline="0" noProof="0" dirty="0">
                <a:ln>
                  <a:noFill/>
                </a:ln>
                <a:solidFill>
                  <a:prstClr val="white"/>
                </a:solidFill>
                <a:effectLst/>
                <a:uLnTx/>
                <a:uFillTx/>
                <a:latin typeface="Calibri" panose="020F0502020204030204"/>
                <a:ea typeface="+mn-ea"/>
                <a:cs typeface="+mn-cs"/>
              </a:rPr>
              <a:t>Reflects whether or not the feedback has been applied for the current exec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white"/>
                </a:solidFill>
                <a:effectLst/>
                <a:uLnTx/>
                <a:uFillTx/>
                <a:latin typeface="Calibri" panose="020F0502020204030204"/>
                <a:ea typeface="+mn-ea"/>
                <a:cs typeface="+mn-cs"/>
              </a:rPr>
              <a:t>Valid Valu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white"/>
                </a:solidFill>
                <a:effectLst/>
                <a:uLnTx/>
                <a:uFillTx/>
                <a:latin typeface="Calibri" panose="020F0502020204030204"/>
                <a:ea typeface="+mn-ea"/>
                <a:cs typeface="+mn-cs"/>
              </a:rPr>
              <a:t>“Yes: Adjus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white"/>
                </a:solidFill>
                <a:effectLst/>
                <a:uLnTx/>
                <a:uFillTx/>
                <a:latin typeface="Calibri" panose="020F0502020204030204"/>
                <a:ea typeface="+mn-ea"/>
                <a:cs typeface="+mn-cs"/>
              </a:rPr>
              <a:t>“Yes: Sta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white"/>
                </a:solidFill>
                <a:effectLst/>
                <a:uLnTx/>
                <a:uFillTx/>
                <a:latin typeface="Calibri" panose="020F0502020204030204"/>
                <a:ea typeface="+mn-ea"/>
                <a:cs typeface="+mn-cs"/>
              </a:rPr>
              <a:t>“No Feedback”</a:t>
            </a:r>
          </a:p>
        </p:txBody>
      </p:sp>
      <p:sp>
        <p:nvSpPr>
          <p:cNvPr id="3" name="TextBox 2">
            <a:extLst>
              <a:ext uri="{FF2B5EF4-FFF2-40B4-BE49-F238E27FC236}">
                <a16:creationId xmlns:a16="http://schemas.microsoft.com/office/drawing/2014/main" id="{BA4BACEC-3EC9-637F-2A2B-58BEC8BD959F}"/>
              </a:ext>
            </a:extLst>
          </p:cNvPr>
          <p:cNvSpPr txBox="1"/>
          <p:nvPr/>
        </p:nvSpPr>
        <p:spPr>
          <a:xfrm>
            <a:off x="282283" y="621066"/>
            <a:ext cx="8013991" cy="523220"/>
          </a:xfrm>
          <a:prstGeom prst="rect">
            <a:avLst/>
          </a:prstGeom>
          <a:noFill/>
        </p:spPr>
        <p:txBody>
          <a:bodyPr wrap="square" rtlCol="0">
            <a:spAutoFit/>
          </a:bodyPr>
          <a:lstStyle/>
          <a:p>
            <a:r>
              <a:rPr lang="en-CA" sz="2800" b="1" dirty="0">
                <a:solidFill>
                  <a:srgbClr val="FF0000"/>
                </a:solidFill>
                <a:latin typeface="Segoe UI" panose="020B0502040204020203" pitchFamily="34" charset="0"/>
                <a:cs typeface="Segoe UI" panose="020B0502040204020203" pitchFamily="34" charset="0"/>
              </a:rPr>
              <a:t>Supportability</a:t>
            </a:r>
            <a:endParaRPr lang="en-CA" sz="2800" dirty="0">
              <a:solidFill>
                <a:srgbClr val="FF0000"/>
              </a:soli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06E764DB-7500-43AD-34CE-A44548B651BA}"/>
              </a:ext>
            </a:extLst>
          </p:cNvPr>
          <p:cNvSpPr txBox="1"/>
          <p:nvPr/>
        </p:nvSpPr>
        <p:spPr>
          <a:xfrm>
            <a:off x="5536788" y="2140169"/>
            <a:ext cx="5004618" cy="430887"/>
          </a:xfrm>
          <a:prstGeom prst="rect">
            <a:avLst/>
          </a:prstGeom>
          <a:solidFill>
            <a:srgbClr val="0070C0"/>
          </a:solidFill>
        </p:spPr>
        <p:txBody>
          <a:bodyPr wrap="square" rtlCol="0">
            <a:spAutoFit/>
          </a:bodyPr>
          <a:lstStyle/>
          <a:p>
            <a:r>
              <a:rPr lang="en-CA" sz="1100" b="1" dirty="0">
                <a:solidFill>
                  <a:schemeClr val="bg1"/>
                </a:solidFill>
              </a:rPr>
              <a:t>Query Hint: </a:t>
            </a:r>
          </a:p>
          <a:p>
            <a:r>
              <a:rPr lang="en-CA" sz="1100" i="1" dirty="0">
                <a:solidFill>
                  <a:schemeClr val="bg1"/>
                </a:solidFill>
              </a:rPr>
              <a:t>Option(USE HINT(‘DISABLE_DOP_FEEDBAK’))</a:t>
            </a:r>
          </a:p>
        </p:txBody>
      </p:sp>
      <p:sp>
        <p:nvSpPr>
          <p:cNvPr id="8" name="TextBox 7">
            <a:extLst>
              <a:ext uri="{FF2B5EF4-FFF2-40B4-BE49-F238E27FC236}">
                <a16:creationId xmlns:a16="http://schemas.microsoft.com/office/drawing/2014/main" id="{AA5C93D6-A94B-D3C0-4728-2BA116597FF1}"/>
              </a:ext>
            </a:extLst>
          </p:cNvPr>
          <p:cNvSpPr txBox="1"/>
          <p:nvPr/>
        </p:nvSpPr>
        <p:spPr>
          <a:xfrm>
            <a:off x="5536788" y="2684185"/>
            <a:ext cx="5004618" cy="430887"/>
          </a:xfrm>
          <a:prstGeom prst="rect">
            <a:avLst/>
          </a:prstGeom>
          <a:solidFill>
            <a:srgbClr val="0070C0"/>
          </a:solidFill>
        </p:spPr>
        <p:txBody>
          <a:bodyPr wrap="square" rtlCol="0">
            <a:spAutoFit/>
          </a:bodyPr>
          <a:lstStyle>
            <a:defPPr>
              <a:defRPr lang="en-US"/>
            </a:defPPr>
            <a:lvl1pPr>
              <a:defRPr sz="1100" b="1">
                <a:solidFill>
                  <a:schemeClr val="bg1"/>
                </a:solidFill>
              </a:defRPr>
            </a:lvl1pPr>
          </a:lstStyle>
          <a:p>
            <a:r>
              <a:rPr lang="en-CA" dirty="0"/>
              <a:t>DB Scoped Config: </a:t>
            </a:r>
          </a:p>
          <a:p>
            <a:r>
              <a:rPr lang="en-CA" dirty="0"/>
              <a:t>ALTER DATABASE SCOPED CONFIGURATION SET DOP_FEEDBACK = OFF</a:t>
            </a:r>
          </a:p>
        </p:txBody>
      </p:sp>
      <p:sp>
        <p:nvSpPr>
          <p:cNvPr id="9" name="TextBox 8">
            <a:extLst>
              <a:ext uri="{FF2B5EF4-FFF2-40B4-BE49-F238E27FC236}">
                <a16:creationId xmlns:a16="http://schemas.microsoft.com/office/drawing/2014/main" id="{B7FE5EF0-6831-6804-2B0D-BE5A98BD20F1}"/>
              </a:ext>
            </a:extLst>
          </p:cNvPr>
          <p:cNvSpPr txBox="1"/>
          <p:nvPr/>
        </p:nvSpPr>
        <p:spPr>
          <a:xfrm>
            <a:off x="5536788" y="3199720"/>
            <a:ext cx="5004618" cy="769441"/>
          </a:xfrm>
          <a:prstGeom prst="rect">
            <a:avLst/>
          </a:prstGeom>
          <a:solidFill>
            <a:srgbClr val="0070C0"/>
          </a:solidFill>
        </p:spPr>
        <p:txBody>
          <a:bodyPr wrap="square" rtlCol="0">
            <a:spAutoFit/>
          </a:bodyPr>
          <a:lstStyle/>
          <a:p>
            <a:r>
              <a:rPr lang="en-CA" sz="1100" b="1" dirty="0">
                <a:solidFill>
                  <a:schemeClr val="bg1"/>
                </a:solidFill>
              </a:rPr>
              <a:t>Server Level Feature Switch: </a:t>
            </a:r>
          </a:p>
          <a:p>
            <a:r>
              <a:rPr lang="en-CA" sz="1100" dirty="0">
                <a:solidFill>
                  <a:schemeClr val="bg1"/>
                </a:solidFill>
              </a:rPr>
              <a:t>Default state = ON </a:t>
            </a:r>
          </a:p>
          <a:p>
            <a:r>
              <a:rPr lang="en-CA" sz="1100" i="1" dirty="0" err="1">
                <a:solidFill>
                  <a:schemeClr val="bg1"/>
                </a:solidFill>
              </a:rPr>
              <a:t>dbcc</a:t>
            </a:r>
            <a:r>
              <a:rPr lang="en-CA" sz="1100" i="1" dirty="0">
                <a:solidFill>
                  <a:schemeClr val="bg1"/>
                </a:solidFill>
              </a:rPr>
              <a:t> </a:t>
            </a:r>
            <a:r>
              <a:rPr lang="en-CA" sz="1100" i="1" dirty="0" err="1">
                <a:solidFill>
                  <a:schemeClr val="bg1"/>
                </a:solidFill>
              </a:rPr>
              <a:t>traceon</a:t>
            </a:r>
            <a:r>
              <a:rPr lang="en-CA" sz="1100" i="1" dirty="0">
                <a:solidFill>
                  <a:schemeClr val="bg1"/>
                </a:solidFill>
              </a:rPr>
              <a:t>(12061, -1)</a:t>
            </a:r>
          </a:p>
          <a:p>
            <a:endParaRPr lang="en-CA" sz="1100" i="1" dirty="0">
              <a:solidFill>
                <a:schemeClr val="bg1"/>
              </a:solidFill>
            </a:endParaRPr>
          </a:p>
        </p:txBody>
      </p:sp>
    </p:spTree>
    <p:extLst>
      <p:ext uri="{BB962C8B-B14F-4D97-AF65-F5344CB8AC3E}">
        <p14:creationId xmlns:p14="http://schemas.microsoft.com/office/powerpoint/2010/main" val="25088777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5AF63BF-4B09-81E2-C7E1-F762478A1E5C}"/>
              </a:ext>
            </a:extLst>
          </p:cNvPr>
          <p:cNvSpPr txBox="1">
            <a:spLocks/>
          </p:cNvSpPr>
          <p:nvPr/>
        </p:nvSpPr>
        <p:spPr>
          <a:xfrm>
            <a:off x="399589" y="2560609"/>
            <a:ext cx="4135582" cy="173678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dirty="0">
                <a:solidFill>
                  <a:srgbClr val="0070C0"/>
                </a:solidFill>
              </a:rPr>
              <a:t>Demo</a:t>
            </a:r>
            <a:endParaRPr lang="en-US" dirty="0">
              <a:solidFill>
                <a:srgbClr val="0070C0"/>
              </a:solidFill>
              <a:latin typeface="+mn-lt"/>
            </a:endParaRPr>
          </a:p>
        </p:txBody>
      </p:sp>
      <p:pic>
        <p:nvPicPr>
          <p:cNvPr id="4" name="Picture 3" descr="A close-up of a logo&#10;&#10;Description automatically generated">
            <a:extLst>
              <a:ext uri="{FF2B5EF4-FFF2-40B4-BE49-F238E27FC236}">
                <a16:creationId xmlns:a16="http://schemas.microsoft.com/office/drawing/2014/main" id="{CBD42E9F-E6C7-1D5D-D473-C963E53251ED}"/>
              </a:ext>
            </a:extLst>
          </p:cNvPr>
          <p:cNvPicPr>
            <a:picLocks noChangeAspect="1"/>
          </p:cNvPicPr>
          <p:nvPr/>
        </p:nvPicPr>
        <p:blipFill>
          <a:blip r:embed="rId3"/>
          <a:stretch>
            <a:fillRect/>
          </a:stretch>
        </p:blipFill>
        <p:spPr>
          <a:xfrm>
            <a:off x="399589" y="351503"/>
            <a:ext cx="2038811" cy="664040"/>
          </a:xfrm>
          <a:prstGeom prst="rect">
            <a:avLst/>
          </a:prstGeom>
        </p:spPr>
      </p:pic>
      <p:pic>
        <p:nvPicPr>
          <p:cNvPr id="3" name="Picture 2" descr="create image to be used for a Powerpoint slide on tech demo">
            <a:extLst>
              <a:ext uri="{FF2B5EF4-FFF2-40B4-BE49-F238E27FC236}">
                <a16:creationId xmlns:a16="http://schemas.microsoft.com/office/drawing/2014/main" id="{31C1715F-F39C-B92C-A0FD-300916BE70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4000" y="0"/>
            <a:ext cx="6858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4782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5AF63BF-4B09-81E2-C7E1-F762478A1E5C}"/>
              </a:ext>
            </a:extLst>
          </p:cNvPr>
          <p:cNvSpPr txBox="1">
            <a:spLocks/>
          </p:cNvSpPr>
          <p:nvPr/>
        </p:nvSpPr>
        <p:spPr>
          <a:xfrm>
            <a:off x="399588" y="2560609"/>
            <a:ext cx="4420061" cy="173678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dirty="0">
                <a:solidFill>
                  <a:srgbClr val="0070C0"/>
                </a:solidFill>
                <a:latin typeface="+mn-lt"/>
              </a:rPr>
              <a:t>Part 3: Parallelism</a:t>
            </a:r>
          </a:p>
          <a:p>
            <a:r>
              <a:rPr lang="en-US" sz="1800" i="1" dirty="0">
                <a:solidFill>
                  <a:srgbClr val="FF0000"/>
                </a:solidFill>
                <a:latin typeface="+mn-lt"/>
              </a:rPr>
              <a:t>“Many hands make light work.”</a:t>
            </a:r>
          </a:p>
        </p:txBody>
      </p:sp>
      <p:pic>
        <p:nvPicPr>
          <p:cNvPr id="4" name="Picture 3" descr="A close-up of a logo&#10;&#10;Description automatically generated">
            <a:extLst>
              <a:ext uri="{FF2B5EF4-FFF2-40B4-BE49-F238E27FC236}">
                <a16:creationId xmlns:a16="http://schemas.microsoft.com/office/drawing/2014/main" id="{CBD42E9F-E6C7-1D5D-D473-C963E53251ED}"/>
              </a:ext>
            </a:extLst>
          </p:cNvPr>
          <p:cNvPicPr>
            <a:picLocks noChangeAspect="1"/>
          </p:cNvPicPr>
          <p:nvPr/>
        </p:nvPicPr>
        <p:blipFill>
          <a:blip r:embed="rId3"/>
          <a:stretch>
            <a:fillRect/>
          </a:stretch>
        </p:blipFill>
        <p:spPr>
          <a:xfrm>
            <a:off x="399589" y="351503"/>
            <a:ext cx="2038811" cy="664040"/>
          </a:xfrm>
          <a:prstGeom prst="rect">
            <a:avLst/>
          </a:prstGeom>
        </p:spPr>
      </p:pic>
      <p:pic>
        <p:nvPicPr>
          <p:cNvPr id="8" name="Picture 7" descr="A blue and white illustration of hands and gears&#10;&#10;Description automatically generated">
            <a:extLst>
              <a:ext uri="{FF2B5EF4-FFF2-40B4-BE49-F238E27FC236}">
                <a16:creationId xmlns:a16="http://schemas.microsoft.com/office/drawing/2014/main" id="{781B7A82-3097-24B7-8576-F1D334A2EA8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1811598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diagram of a process">
            <a:extLst>
              <a:ext uri="{FF2B5EF4-FFF2-40B4-BE49-F238E27FC236}">
                <a16:creationId xmlns:a16="http://schemas.microsoft.com/office/drawing/2014/main" id="{E32C5ACB-A166-E63B-668D-8BA51D56F899}"/>
              </a:ext>
            </a:extLst>
          </p:cNvPr>
          <p:cNvPicPr>
            <a:picLocks noChangeAspect="1"/>
          </p:cNvPicPr>
          <p:nvPr/>
        </p:nvPicPr>
        <p:blipFill rotWithShape="1">
          <a:blip r:embed="rId3"/>
          <a:srcRect l="6003" r="10992"/>
          <a:stretch/>
        </p:blipFill>
        <p:spPr>
          <a:xfrm>
            <a:off x="5721731" y="1295899"/>
            <a:ext cx="6006444" cy="4613105"/>
          </a:xfrm>
          <a:prstGeom prst="rect">
            <a:avLst/>
          </a:prstGeom>
        </p:spPr>
      </p:pic>
      <p:sp>
        <p:nvSpPr>
          <p:cNvPr id="3" name="Rectangle 2">
            <a:extLst>
              <a:ext uri="{FF2B5EF4-FFF2-40B4-BE49-F238E27FC236}">
                <a16:creationId xmlns:a16="http://schemas.microsoft.com/office/drawing/2014/main" id="{E80C102E-1F46-0030-D2AC-CE3DC153F6B8}"/>
              </a:ext>
            </a:extLst>
          </p:cNvPr>
          <p:cNvSpPr/>
          <p:nvPr/>
        </p:nvSpPr>
        <p:spPr>
          <a:xfrm>
            <a:off x="9067146" y="1146086"/>
            <a:ext cx="2661029" cy="3265122"/>
          </a:xfrm>
          <a:prstGeom prst="rect">
            <a:avLst/>
          </a:prstGeom>
          <a:solidFill>
            <a:srgbClr val="0070C0">
              <a:alpha val="5000"/>
            </a:srgbClr>
          </a:solidFill>
          <a:ln w="180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nchorCtr="1"/>
          <a:lstStyle/>
          <a:p>
            <a:endParaRPr lang="en-US">
              <a:solidFill>
                <a:srgbClr val="E71224"/>
              </a:solidFill>
            </a:endParaRPr>
          </a:p>
        </p:txBody>
      </p:sp>
      <p:sp>
        <p:nvSpPr>
          <p:cNvPr id="4" name="TextBox 3">
            <a:extLst>
              <a:ext uri="{FF2B5EF4-FFF2-40B4-BE49-F238E27FC236}">
                <a16:creationId xmlns:a16="http://schemas.microsoft.com/office/drawing/2014/main" id="{DB13EC4B-D52B-CFBB-C701-315FF4FA7AD8}"/>
              </a:ext>
            </a:extLst>
          </p:cNvPr>
          <p:cNvSpPr txBox="1"/>
          <p:nvPr/>
        </p:nvSpPr>
        <p:spPr>
          <a:xfrm>
            <a:off x="302379" y="480679"/>
            <a:ext cx="8600459" cy="584775"/>
          </a:xfrm>
          <a:prstGeom prst="rect">
            <a:avLst/>
          </a:prstGeom>
          <a:noFill/>
        </p:spPr>
        <p:txBody>
          <a:bodyPr wrap="square" rtlCol="0">
            <a:spAutoFit/>
          </a:bodyPr>
          <a:lstStyle/>
          <a:p>
            <a:r>
              <a:rPr lang="en-CA" sz="3200" b="1" dirty="0">
                <a:solidFill>
                  <a:srgbClr val="FF0000"/>
                </a:solidFill>
                <a:latin typeface="Segoe UI" panose="020B0502040204020203" pitchFamily="34" charset="0"/>
                <a:cs typeface="Segoe UI" panose="020B0502040204020203" pitchFamily="34" charset="0"/>
              </a:rPr>
              <a:t>SQL Server Optimization Process</a:t>
            </a:r>
            <a:endParaRPr lang="en-CA" sz="3200" dirty="0">
              <a:solidFill>
                <a:srgbClr val="FF0000"/>
              </a:solidFill>
              <a:latin typeface="Segoe UI" panose="020B0502040204020203" pitchFamily="34" charset="0"/>
              <a:cs typeface="Segoe UI" panose="020B0502040204020203" pitchFamily="34" charset="0"/>
            </a:endParaRPr>
          </a:p>
        </p:txBody>
      </p:sp>
      <p:sp>
        <p:nvSpPr>
          <p:cNvPr id="5" name="TextBox 4">
            <a:extLst>
              <a:ext uri="{FF2B5EF4-FFF2-40B4-BE49-F238E27FC236}">
                <a16:creationId xmlns:a16="http://schemas.microsoft.com/office/drawing/2014/main" id="{EEFC8789-965F-4AB8-E134-6503FE1C5E78}"/>
              </a:ext>
            </a:extLst>
          </p:cNvPr>
          <p:cNvSpPr txBox="1"/>
          <p:nvPr/>
        </p:nvSpPr>
        <p:spPr>
          <a:xfrm>
            <a:off x="463825" y="1222040"/>
            <a:ext cx="4800601" cy="5262979"/>
          </a:xfrm>
          <a:prstGeom prst="rect">
            <a:avLst/>
          </a:prstGeom>
          <a:noFill/>
        </p:spPr>
        <p:txBody>
          <a:bodyPr wrap="square" rtlCol="0">
            <a:spAutoFit/>
          </a:bodyPr>
          <a:lstStyle/>
          <a:p>
            <a:pPr marL="342900" indent="-342900">
              <a:buFont typeface="Arial" panose="020B0604020202020204" pitchFamily="34" charset="0"/>
              <a:buChar char="•"/>
            </a:pPr>
            <a:r>
              <a:rPr lang="en-CA" sz="1600" dirty="0">
                <a:solidFill>
                  <a:srgbClr val="0070C0"/>
                </a:solidFill>
              </a:rPr>
              <a:t>The SQL optimizer may go through 4 phases to optimize a query:</a:t>
            </a:r>
          </a:p>
          <a:p>
            <a:pPr marL="800100" lvl="1" indent="-342900">
              <a:buFont typeface="Arial" panose="020B0604020202020204" pitchFamily="34" charset="0"/>
              <a:buChar char="•"/>
            </a:pPr>
            <a:r>
              <a:rPr lang="en-CA" sz="1600" dirty="0">
                <a:solidFill>
                  <a:srgbClr val="0070C0"/>
                </a:solidFill>
              </a:rPr>
              <a:t>Pre-optimization/Trivial Plan phase</a:t>
            </a:r>
          </a:p>
          <a:p>
            <a:pPr marL="800100" lvl="1" indent="-342900">
              <a:buFont typeface="Arial" panose="020B0604020202020204" pitchFamily="34" charset="0"/>
              <a:buChar char="•"/>
            </a:pPr>
            <a:r>
              <a:rPr lang="en-CA" sz="1600" dirty="0">
                <a:solidFill>
                  <a:srgbClr val="0070C0"/>
                </a:solidFill>
              </a:rPr>
              <a:t>Phase 0</a:t>
            </a:r>
          </a:p>
          <a:p>
            <a:pPr marL="800100" lvl="1" indent="-342900">
              <a:buFont typeface="Arial" panose="020B0604020202020204" pitchFamily="34" charset="0"/>
              <a:buChar char="•"/>
            </a:pPr>
            <a:r>
              <a:rPr lang="en-CA" sz="1600" dirty="0">
                <a:solidFill>
                  <a:srgbClr val="0070C0"/>
                </a:solidFill>
              </a:rPr>
              <a:t>Phase 1</a:t>
            </a:r>
          </a:p>
          <a:p>
            <a:pPr marL="800100" lvl="1" indent="-342900">
              <a:buFont typeface="Arial" panose="020B0604020202020204" pitchFamily="34" charset="0"/>
              <a:buChar char="•"/>
            </a:pPr>
            <a:r>
              <a:rPr lang="en-CA" sz="1600" dirty="0">
                <a:solidFill>
                  <a:srgbClr val="0070C0"/>
                </a:solidFill>
              </a:rPr>
              <a:t>Phase 2</a:t>
            </a:r>
          </a:p>
          <a:p>
            <a:pPr lvl="1"/>
            <a:endParaRPr lang="en-CA" sz="1600" dirty="0">
              <a:solidFill>
                <a:srgbClr val="0070C0"/>
              </a:solidFill>
            </a:endParaRPr>
          </a:p>
          <a:p>
            <a:pPr marL="342900" indent="-342900">
              <a:buFont typeface="Arial" panose="020B0604020202020204" pitchFamily="34" charset="0"/>
              <a:buChar char="•"/>
            </a:pPr>
            <a:r>
              <a:rPr lang="en-CA" sz="1600" dirty="0">
                <a:solidFill>
                  <a:srgbClr val="0070C0"/>
                </a:solidFill>
              </a:rPr>
              <a:t>During “Phase 1” (red box in the diagram) of the query optimization process, the SQL Optimizer decides whether to use a serial or parallel plan by comparing the estimated cost of a serial plan versus the </a:t>
            </a:r>
            <a:r>
              <a:rPr lang="en-CA" sz="1600" b="1" i="1" dirty="0">
                <a:solidFill>
                  <a:srgbClr val="FF0000"/>
                </a:solidFill>
              </a:rPr>
              <a:t>Cost Threshold For Parallelism (CTFP)</a:t>
            </a:r>
            <a:r>
              <a:rPr lang="en-CA" sz="1600" i="1" dirty="0">
                <a:solidFill>
                  <a:srgbClr val="FF0000"/>
                </a:solidFill>
              </a:rPr>
              <a:t> </a:t>
            </a:r>
            <a:r>
              <a:rPr lang="en-CA" sz="1600" dirty="0">
                <a:solidFill>
                  <a:srgbClr val="0070C0"/>
                </a:solidFill>
              </a:rPr>
              <a:t>Instance-level s</a:t>
            </a:r>
            <a:r>
              <a:rPr lang="en-CA" sz="1600" i="1" dirty="0">
                <a:solidFill>
                  <a:srgbClr val="0070C0"/>
                </a:solidFill>
              </a:rPr>
              <a:t>etting. </a:t>
            </a:r>
            <a:endParaRPr lang="en-CA" sz="1600" dirty="0">
              <a:solidFill>
                <a:srgbClr val="0070C0"/>
              </a:solidFill>
            </a:endParaRPr>
          </a:p>
          <a:p>
            <a:pPr marL="342900" indent="-342900">
              <a:buFont typeface="Arial" panose="020B0604020202020204" pitchFamily="34" charset="0"/>
              <a:buChar char="•"/>
            </a:pPr>
            <a:endParaRPr lang="en-CA" sz="1600" dirty="0">
              <a:solidFill>
                <a:srgbClr val="0070C0"/>
              </a:solidFill>
            </a:endParaRPr>
          </a:p>
          <a:p>
            <a:pPr marL="342900" indent="-342900">
              <a:buFont typeface="Arial" panose="020B0604020202020204" pitchFamily="34" charset="0"/>
              <a:buChar char="•"/>
            </a:pPr>
            <a:r>
              <a:rPr lang="en-CA" sz="1600" dirty="0">
                <a:solidFill>
                  <a:srgbClr val="0070C0"/>
                </a:solidFill>
              </a:rPr>
              <a:t>If the SQL Optimizer opts for a parallel plan, multiple CPUs will be used to run the query.</a:t>
            </a:r>
          </a:p>
          <a:p>
            <a:endParaRPr lang="en-CA" sz="1600" dirty="0">
              <a:solidFill>
                <a:srgbClr val="0070C0"/>
              </a:solidFill>
            </a:endParaRPr>
          </a:p>
          <a:p>
            <a:pPr marL="342900" indent="-342900">
              <a:buFont typeface="Arial" panose="020B0604020202020204" pitchFamily="34" charset="0"/>
              <a:buChar char="•"/>
            </a:pPr>
            <a:r>
              <a:rPr lang="en-CA" sz="1600" dirty="0">
                <a:solidFill>
                  <a:srgbClr val="0070C0"/>
                </a:solidFill>
              </a:rPr>
              <a:t>The number of CPUs a parallel plan can use is determined by many factors including an Instance-level setting called </a:t>
            </a:r>
            <a:r>
              <a:rPr lang="en-CA" sz="1600" b="1" i="1" dirty="0">
                <a:solidFill>
                  <a:srgbClr val="FF0000"/>
                </a:solidFill>
              </a:rPr>
              <a:t>Maximum Degree of Parallelism (MAXDOP)</a:t>
            </a:r>
            <a:r>
              <a:rPr lang="en-CA" sz="1600" b="1" i="1" dirty="0">
                <a:solidFill>
                  <a:srgbClr val="0070C0"/>
                </a:solidFill>
              </a:rPr>
              <a:t>.</a:t>
            </a:r>
            <a:endParaRPr lang="en-CA" sz="1600" b="1" dirty="0">
              <a:solidFill>
                <a:srgbClr val="0070C0"/>
              </a:solidFill>
            </a:endParaRPr>
          </a:p>
        </p:txBody>
      </p:sp>
      <p:cxnSp>
        <p:nvCxnSpPr>
          <p:cNvPr id="8" name="Connector: Curved 7">
            <a:extLst>
              <a:ext uri="{FF2B5EF4-FFF2-40B4-BE49-F238E27FC236}">
                <a16:creationId xmlns:a16="http://schemas.microsoft.com/office/drawing/2014/main" id="{498A3D5C-EBF1-004D-1739-97A2A6DE4BF6}"/>
              </a:ext>
            </a:extLst>
          </p:cNvPr>
          <p:cNvCxnSpPr>
            <a:cxnSpLocks/>
            <a:endCxn id="9" idx="0"/>
          </p:cNvCxnSpPr>
          <p:nvPr/>
        </p:nvCxnSpPr>
        <p:spPr>
          <a:xfrm rot="5400000">
            <a:off x="10440449" y="4761951"/>
            <a:ext cx="1074229" cy="123826"/>
          </a:xfrm>
          <a:prstGeom prst="curvedConnector3">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576A4EC6-172B-3599-88BE-CB8D7B681354}"/>
              </a:ext>
            </a:extLst>
          </p:cNvPr>
          <p:cNvSpPr/>
          <p:nvPr/>
        </p:nvSpPr>
        <p:spPr>
          <a:xfrm>
            <a:off x="10276025" y="5360979"/>
            <a:ext cx="1279250" cy="548076"/>
          </a:xfrm>
          <a:prstGeom prst="ellipse">
            <a:avLst/>
          </a:prstGeom>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CA" sz="1050" dirty="0">
                <a:solidFill>
                  <a:srgbClr val="FF0000"/>
                </a:solidFill>
              </a:rPr>
              <a:t>How many CPUs = MAXDOP</a:t>
            </a:r>
          </a:p>
        </p:txBody>
      </p:sp>
      <p:cxnSp>
        <p:nvCxnSpPr>
          <p:cNvPr id="10" name="Connector: Curved 9">
            <a:extLst>
              <a:ext uri="{FF2B5EF4-FFF2-40B4-BE49-F238E27FC236}">
                <a16:creationId xmlns:a16="http://schemas.microsoft.com/office/drawing/2014/main" id="{786E825C-2359-3ECF-39C3-9DD7F4628C19}"/>
              </a:ext>
            </a:extLst>
          </p:cNvPr>
          <p:cNvCxnSpPr>
            <a:cxnSpLocks/>
            <a:endCxn id="12" idx="2"/>
          </p:cNvCxnSpPr>
          <p:nvPr/>
        </p:nvCxnSpPr>
        <p:spPr>
          <a:xfrm rot="5400000">
            <a:off x="8157260" y="4795786"/>
            <a:ext cx="2179073" cy="600522"/>
          </a:xfrm>
          <a:prstGeom prst="curvedConnector4">
            <a:avLst>
              <a:gd name="adj1" fmla="val 43129"/>
              <a:gd name="adj2" fmla="val 138067"/>
            </a:avLst>
          </a:prstGeom>
          <a:ln w="1905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2" name="Oval 11">
            <a:extLst>
              <a:ext uri="{FF2B5EF4-FFF2-40B4-BE49-F238E27FC236}">
                <a16:creationId xmlns:a16="http://schemas.microsoft.com/office/drawing/2014/main" id="{4E58395D-BD98-674F-EBD1-080E4596B618}"/>
              </a:ext>
            </a:extLst>
          </p:cNvPr>
          <p:cNvSpPr/>
          <p:nvPr/>
        </p:nvSpPr>
        <p:spPr>
          <a:xfrm>
            <a:off x="8946535" y="5886149"/>
            <a:ext cx="1329490" cy="598870"/>
          </a:xfrm>
          <a:prstGeom prst="ellipse">
            <a:avLst/>
          </a:prstGeom>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CA" sz="1000" dirty="0">
                <a:solidFill>
                  <a:srgbClr val="FF0000"/>
                </a:solidFill>
              </a:rPr>
              <a:t>Estimated subtree cost vs. CTFP</a:t>
            </a:r>
          </a:p>
        </p:txBody>
      </p:sp>
    </p:spTree>
    <p:extLst>
      <p:ext uri="{BB962C8B-B14F-4D97-AF65-F5344CB8AC3E}">
        <p14:creationId xmlns:p14="http://schemas.microsoft.com/office/powerpoint/2010/main" val="31460199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E100BD9-3C9C-A10A-B346-4CF2A37887A2}"/>
              </a:ext>
            </a:extLst>
          </p:cNvPr>
          <p:cNvSpPr txBox="1"/>
          <p:nvPr/>
        </p:nvSpPr>
        <p:spPr>
          <a:xfrm>
            <a:off x="302379" y="480679"/>
            <a:ext cx="8600459" cy="584775"/>
          </a:xfrm>
          <a:prstGeom prst="rect">
            <a:avLst/>
          </a:prstGeom>
          <a:noFill/>
        </p:spPr>
        <p:txBody>
          <a:bodyPr wrap="square" rtlCol="0">
            <a:spAutoFit/>
          </a:bodyPr>
          <a:lstStyle/>
          <a:p>
            <a:r>
              <a:rPr lang="en-CA" sz="3200" b="1" dirty="0">
                <a:solidFill>
                  <a:srgbClr val="FF0000"/>
                </a:solidFill>
                <a:latin typeface="Segoe UI" panose="020B0502040204020203" pitchFamily="34" charset="0"/>
                <a:cs typeface="Segoe UI" panose="020B0502040204020203" pitchFamily="34" charset="0"/>
              </a:rPr>
              <a:t>Cost Threshold for Parallelism</a:t>
            </a:r>
            <a:endParaRPr lang="en-CA" sz="3200" dirty="0">
              <a:solidFill>
                <a:srgbClr val="FF0000"/>
              </a:solidFill>
              <a:latin typeface="Segoe UI" panose="020B0502040204020203" pitchFamily="34" charset="0"/>
              <a:cs typeface="Segoe UI" panose="020B0502040204020203" pitchFamily="34" charset="0"/>
            </a:endParaRPr>
          </a:p>
        </p:txBody>
      </p:sp>
      <p:graphicFrame>
        <p:nvGraphicFramePr>
          <p:cNvPr id="5" name="Diagram 4">
            <a:extLst>
              <a:ext uri="{FF2B5EF4-FFF2-40B4-BE49-F238E27FC236}">
                <a16:creationId xmlns:a16="http://schemas.microsoft.com/office/drawing/2014/main" id="{52DD5EC6-ABA9-39E6-B35C-F4F37CCBB641}"/>
              </a:ext>
            </a:extLst>
          </p:cNvPr>
          <p:cNvGraphicFramePr/>
          <p:nvPr>
            <p:extLst>
              <p:ext uri="{D42A27DB-BD31-4B8C-83A1-F6EECF244321}">
                <p14:modId xmlns:p14="http://schemas.microsoft.com/office/powerpoint/2010/main" val="653311576"/>
              </p:ext>
            </p:extLst>
          </p:nvPr>
        </p:nvGraphicFramePr>
        <p:xfrm>
          <a:off x="2032000" y="1505346"/>
          <a:ext cx="8128000" cy="47315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72520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E100BD9-3C9C-A10A-B346-4CF2A37887A2}"/>
              </a:ext>
            </a:extLst>
          </p:cNvPr>
          <p:cNvSpPr txBox="1"/>
          <p:nvPr/>
        </p:nvSpPr>
        <p:spPr>
          <a:xfrm>
            <a:off x="302379" y="480679"/>
            <a:ext cx="8600459" cy="584775"/>
          </a:xfrm>
          <a:prstGeom prst="rect">
            <a:avLst/>
          </a:prstGeom>
          <a:noFill/>
        </p:spPr>
        <p:txBody>
          <a:bodyPr wrap="square" rtlCol="0">
            <a:spAutoFit/>
          </a:bodyPr>
          <a:lstStyle/>
          <a:p>
            <a:r>
              <a:rPr lang="en-CA" sz="3200" b="1" dirty="0">
                <a:solidFill>
                  <a:srgbClr val="FF0000"/>
                </a:solidFill>
                <a:latin typeface="Segoe UI" panose="020B0502040204020203" pitchFamily="34" charset="0"/>
                <a:cs typeface="Segoe UI" panose="020B0502040204020203" pitchFamily="34" charset="0"/>
              </a:rPr>
              <a:t>What is MAXDOP  and how to configure it</a:t>
            </a:r>
            <a:endParaRPr lang="en-CA" sz="3200" dirty="0">
              <a:solidFill>
                <a:srgbClr val="FF0000"/>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D786A86C-8C27-9C0C-C028-57912F105CD0}"/>
              </a:ext>
            </a:extLst>
          </p:cNvPr>
          <p:cNvSpPr txBox="1"/>
          <p:nvPr/>
        </p:nvSpPr>
        <p:spPr>
          <a:xfrm>
            <a:off x="515788" y="1266804"/>
            <a:ext cx="10537399" cy="892552"/>
          </a:xfrm>
          <a:prstGeom prst="rect">
            <a:avLst/>
          </a:prstGeom>
          <a:noFill/>
        </p:spPr>
        <p:txBody>
          <a:bodyPr wrap="square">
            <a:spAutoFit/>
          </a:bodyPr>
          <a:lstStyle/>
          <a:p>
            <a:r>
              <a:rPr lang="en-CA" sz="2000" dirty="0">
                <a:solidFill>
                  <a:srgbClr val="0070C0"/>
                </a:solidFill>
              </a:rPr>
              <a:t>A SQL Server configuration to limit the maximum number of processors SQL can use for executing a parallel query plan.</a:t>
            </a:r>
          </a:p>
          <a:p>
            <a:r>
              <a:rPr lang="en-US" sz="1200" dirty="0">
                <a:solidFill>
                  <a:srgbClr val="0070C0"/>
                </a:solidFill>
                <a:hlinkClick r:id="rId3">
                  <a:extLst>
                    <a:ext uri="{A12FA001-AC4F-418D-AE19-62706E023703}">
                      <ahyp:hlinkClr xmlns:ahyp="http://schemas.microsoft.com/office/drawing/2018/hyperlinkcolor" val="tx"/>
                    </a:ext>
                  </a:extLst>
                </a:hlinkClick>
              </a:rPr>
              <a:t>Configure the max degree of parallelism (MAXDOP) - Azure SQL Database | Microsoft Learn</a:t>
            </a:r>
            <a:endParaRPr lang="en-CA" sz="1200" dirty="0">
              <a:solidFill>
                <a:srgbClr val="0070C0"/>
              </a:solidFill>
            </a:endParaRPr>
          </a:p>
        </p:txBody>
      </p:sp>
      <p:graphicFrame>
        <p:nvGraphicFramePr>
          <p:cNvPr id="12" name="Diagram 11">
            <a:extLst>
              <a:ext uri="{FF2B5EF4-FFF2-40B4-BE49-F238E27FC236}">
                <a16:creationId xmlns:a16="http://schemas.microsoft.com/office/drawing/2014/main" id="{5003B5BD-D8B4-AC74-0A6B-B9E1D4A3893B}"/>
              </a:ext>
            </a:extLst>
          </p:cNvPr>
          <p:cNvGraphicFramePr/>
          <p:nvPr>
            <p:extLst>
              <p:ext uri="{D42A27DB-BD31-4B8C-83A1-F6EECF244321}">
                <p14:modId xmlns:p14="http://schemas.microsoft.com/office/powerpoint/2010/main" val="1720627302"/>
              </p:ext>
            </p:extLst>
          </p:nvPr>
        </p:nvGraphicFramePr>
        <p:xfrm>
          <a:off x="1093030" y="2360706"/>
          <a:ext cx="10005940" cy="38551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02397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E100BD9-3C9C-A10A-B346-4CF2A37887A2}"/>
              </a:ext>
            </a:extLst>
          </p:cNvPr>
          <p:cNvSpPr txBox="1"/>
          <p:nvPr/>
        </p:nvSpPr>
        <p:spPr>
          <a:xfrm>
            <a:off x="302379" y="480679"/>
            <a:ext cx="8600459" cy="584775"/>
          </a:xfrm>
          <a:prstGeom prst="rect">
            <a:avLst/>
          </a:prstGeom>
          <a:noFill/>
        </p:spPr>
        <p:txBody>
          <a:bodyPr wrap="square" rtlCol="0">
            <a:spAutoFit/>
          </a:bodyPr>
          <a:lstStyle/>
          <a:p>
            <a:r>
              <a:rPr lang="en-CA" sz="3200" b="1" dirty="0">
                <a:solidFill>
                  <a:srgbClr val="FF0000"/>
                </a:solidFill>
                <a:latin typeface="Segoe UI" panose="020B0502040204020203" pitchFamily="34" charset="0"/>
                <a:cs typeface="Segoe UI" panose="020B0502040204020203" pitchFamily="34" charset="0"/>
              </a:rPr>
              <a:t>Other ways to limit DOP</a:t>
            </a:r>
            <a:endParaRPr lang="en-CA" sz="3200" dirty="0">
              <a:solidFill>
                <a:srgbClr val="FF0000"/>
              </a:solidFill>
              <a:latin typeface="Segoe UI" panose="020B0502040204020203" pitchFamily="34" charset="0"/>
              <a:cs typeface="Segoe UI" panose="020B0502040204020203" pitchFamily="34" charset="0"/>
            </a:endParaRPr>
          </a:p>
        </p:txBody>
      </p:sp>
      <p:graphicFrame>
        <p:nvGraphicFramePr>
          <p:cNvPr id="4" name="Diagram 3">
            <a:extLst>
              <a:ext uri="{FF2B5EF4-FFF2-40B4-BE49-F238E27FC236}">
                <a16:creationId xmlns:a16="http://schemas.microsoft.com/office/drawing/2014/main" id="{C694D4C5-E675-D5CB-7C10-9975CB3C66DF}"/>
              </a:ext>
            </a:extLst>
          </p:cNvPr>
          <p:cNvGraphicFramePr/>
          <p:nvPr/>
        </p:nvGraphicFramePr>
        <p:xfrm>
          <a:off x="588210" y="1233236"/>
          <a:ext cx="8128000" cy="49772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59482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E100BD9-3C9C-A10A-B346-4CF2A37887A2}"/>
              </a:ext>
            </a:extLst>
          </p:cNvPr>
          <p:cNvSpPr txBox="1"/>
          <p:nvPr/>
        </p:nvSpPr>
        <p:spPr>
          <a:xfrm>
            <a:off x="302379" y="480679"/>
            <a:ext cx="8600459" cy="584775"/>
          </a:xfrm>
          <a:prstGeom prst="rect">
            <a:avLst/>
          </a:prstGeom>
          <a:noFill/>
        </p:spPr>
        <p:txBody>
          <a:bodyPr wrap="square" rtlCol="0">
            <a:spAutoFit/>
          </a:bodyPr>
          <a:lstStyle/>
          <a:p>
            <a:r>
              <a:rPr lang="en-CA" sz="3200" b="1" dirty="0">
                <a:solidFill>
                  <a:srgbClr val="FF0000"/>
                </a:solidFill>
                <a:latin typeface="Segoe UI" panose="020B0502040204020203" pitchFamily="34" charset="0"/>
                <a:cs typeface="Segoe UI" panose="020B0502040204020203" pitchFamily="34" charset="0"/>
              </a:rPr>
              <a:t>Other things that inhibit Parallelism</a:t>
            </a:r>
            <a:endParaRPr lang="en-CA" sz="3200" dirty="0">
              <a:solidFill>
                <a:srgbClr val="FF0000"/>
              </a:solidFill>
              <a:latin typeface="Segoe UI" panose="020B0502040204020203" pitchFamily="34" charset="0"/>
              <a:cs typeface="Segoe UI" panose="020B0502040204020203" pitchFamily="34" charset="0"/>
            </a:endParaRPr>
          </a:p>
        </p:txBody>
      </p:sp>
      <p:graphicFrame>
        <p:nvGraphicFramePr>
          <p:cNvPr id="4" name="Diagram 3">
            <a:extLst>
              <a:ext uri="{FF2B5EF4-FFF2-40B4-BE49-F238E27FC236}">
                <a16:creationId xmlns:a16="http://schemas.microsoft.com/office/drawing/2014/main" id="{C694D4C5-E675-D5CB-7C10-9975CB3C66DF}"/>
              </a:ext>
            </a:extLst>
          </p:cNvPr>
          <p:cNvGraphicFramePr/>
          <p:nvPr>
            <p:extLst>
              <p:ext uri="{D42A27DB-BD31-4B8C-83A1-F6EECF244321}">
                <p14:modId xmlns:p14="http://schemas.microsoft.com/office/powerpoint/2010/main" val="3806583191"/>
              </p:ext>
            </p:extLst>
          </p:nvPr>
        </p:nvGraphicFramePr>
        <p:xfrm>
          <a:off x="588210" y="1233236"/>
          <a:ext cx="8128000" cy="49772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32416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B13EC4B-D52B-CFBB-C701-315FF4FA7AD8}"/>
              </a:ext>
            </a:extLst>
          </p:cNvPr>
          <p:cNvSpPr txBox="1"/>
          <p:nvPr/>
        </p:nvSpPr>
        <p:spPr>
          <a:xfrm>
            <a:off x="282284" y="621066"/>
            <a:ext cx="5737516" cy="523220"/>
          </a:xfrm>
          <a:prstGeom prst="rect">
            <a:avLst/>
          </a:prstGeom>
          <a:noFill/>
        </p:spPr>
        <p:txBody>
          <a:bodyPr wrap="square" rtlCol="0">
            <a:spAutoFit/>
          </a:bodyPr>
          <a:lstStyle/>
          <a:p>
            <a:r>
              <a:rPr lang="en-CA" sz="2800" b="1" dirty="0">
                <a:solidFill>
                  <a:srgbClr val="FF0000"/>
                </a:solidFill>
                <a:latin typeface="Segoe UI" panose="020B0502040204020203" pitchFamily="34" charset="0"/>
                <a:cs typeface="Segoe UI" panose="020B0502040204020203" pitchFamily="34" charset="0"/>
              </a:rPr>
              <a:t>When Parallelism goes bad</a:t>
            </a:r>
            <a:endParaRPr lang="en-CA" sz="2800" dirty="0">
              <a:solidFill>
                <a:srgbClr val="FF0000"/>
              </a:solidFill>
              <a:latin typeface="Segoe UI" panose="020B0502040204020203" pitchFamily="34" charset="0"/>
              <a:cs typeface="Segoe UI" panose="020B0502040204020203" pitchFamily="34" charset="0"/>
            </a:endParaRPr>
          </a:p>
        </p:txBody>
      </p:sp>
      <p:sp>
        <p:nvSpPr>
          <p:cNvPr id="5" name="TextBox 4">
            <a:extLst>
              <a:ext uri="{FF2B5EF4-FFF2-40B4-BE49-F238E27FC236}">
                <a16:creationId xmlns:a16="http://schemas.microsoft.com/office/drawing/2014/main" id="{EEFC8789-965F-4AB8-E134-6503FE1C5E78}"/>
              </a:ext>
            </a:extLst>
          </p:cNvPr>
          <p:cNvSpPr txBox="1"/>
          <p:nvPr/>
        </p:nvSpPr>
        <p:spPr>
          <a:xfrm>
            <a:off x="529933" y="1567060"/>
            <a:ext cx="4800601" cy="4801314"/>
          </a:xfrm>
          <a:prstGeom prst="rect">
            <a:avLst/>
          </a:prstGeom>
          <a:noFill/>
        </p:spPr>
        <p:txBody>
          <a:bodyPr wrap="square" rtlCol="0">
            <a:spAutoFit/>
          </a:bodyPr>
          <a:lstStyle/>
          <a:p>
            <a:pPr marL="342900" indent="-342900">
              <a:buFont typeface="Arial" panose="020B0604020202020204" pitchFamily="34" charset="0"/>
              <a:buChar char="•"/>
            </a:pPr>
            <a:r>
              <a:rPr lang="en-CA" dirty="0">
                <a:solidFill>
                  <a:srgbClr val="0070C0"/>
                </a:solidFill>
              </a:rPr>
              <a:t>Parallelism is meant to improve the performance of a query by dividing the workload across multiple CPUs.</a:t>
            </a:r>
          </a:p>
          <a:p>
            <a:pPr marL="342900" indent="-342900">
              <a:buFont typeface="Arial" panose="020B0604020202020204" pitchFamily="34" charset="0"/>
              <a:buChar char="•"/>
            </a:pPr>
            <a:endParaRPr lang="en-CA" dirty="0">
              <a:solidFill>
                <a:srgbClr val="0070C0"/>
              </a:solidFill>
            </a:endParaRPr>
          </a:p>
          <a:p>
            <a:pPr marL="342900" indent="-342900">
              <a:buFont typeface="Arial" panose="020B0604020202020204" pitchFamily="34" charset="0"/>
              <a:buChar char="•"/>
            </a:pPr>
            <a:r>
              <a:rPr lang="en-CA" dirty="0">
                <a:solidFill>
                  <a:srgbClr val="0070C0"/>
                </a:solidFill>
              </a:rPr>
              <a:t>However, there are times when parallelism can cause performance issues, such as when the distribution of workload across the CPUs is uneven.</a:t>
            </a:r>
          </a:p>
          <a:p>
            <a:pPr marL="342900" indent="-342900">
              <a:buFont typeface="Arial" panose="020B0604020202020204" pitchFamily="34" charset="0"/>
              <a:buChar char="•"/>
            </a:pPr>
            <a:endParaRPr lang="en-CA" dirty="0">
              <a:solidFill>
                <a:srgbClr val="0070C0"/>
              </a:solidFill>
            </a:endParaRPr>
          </a:p>
          <a:p>
            <a:pPr marL="342900" indent="-342900">
              <a:buFont typeface="Arial" panose="020B0604020202020204" pitchFamily="34" charset="0"/>
              <a:buChar char="•"/>
            </a:pPr>
            <a:r>
              <a:rPr lang="en-CA" dirty="0">
                <a:solidFill>
                  <a:srgbClr val="0070C0"/>
                </a:solidFill>
              </a:rPr>
              <a:t>As a result, worker threads may be waiting on each other to complete. The overhead of coordinating the parallel operation now becomes a problem in itself.</a:t>
            </a:r>
          </a:p>
          <a:p>
            <a:pPr marL="342900" indent="-342900">
              <a:buFont typeface="Arial" panose="020B0604020202020204" pitchFamily="34" charset="0"/>
              <a:buChar char="•"/>
            </a:pPr>
            <a:endParaRPr lang="en-CA" dirty="0">
              <a:solidFill>
                <a:srgbClr val="0070C0"/>
              </a:solidFill>
            </a:endParaRPr>
          </a:p>
          <a:p>
            <a:pPr marL="342900" indent="-342900">
              <a:buFont typeface="Arial" panose="020B0604020202020204" pitchFamily="34" charset="0"/>
              <a:buChar char="•"/>
            </a:pPr>
            <a:r>
              <a:rPr lang="en-CA" dirty="0">
                <a:solidFill>
                  <a:srgbClr val="0070C0"/>
                </a:solidFill>
              </a:rPr>
              <a:t>In these cases, limiting the MAXDOP can help mitigate the performance impact of over-parallelism.</a:t>
            </a:r>
          </a:p>
        </p:txBody>
      </p:sp>
      <p:pic>
        <p:nvPicPr>
          <p:cNvPr id="6" name="Picture 5">
            <a:extLst>
              <a:ext uri="{FF2B5EF4-FFF2-40B4-BE49-F238E27FC236}">
                <a16:creationId xmlns:a16="http://schemas.microsoft.com/office/drawing/2014/main" id="{A298557A-211A-CE8F-E40B-1E5A8A9E3054}"/>
              </a:ext>
            </a:extLst>
          </p:cNvPr>
          <p:cNvPicPr>
            <a:picLocks noChangeAspect="1"/>
          </p:cNvPicPr>
          <p:nvPr/>
        </p:nvPicPr>
        <p:blipFill>
          <a:blip r:embed="rId3"/>
          <a:stretch>
            <a:fillRect/>
          </a:stretch>
        </p:blipFill>
        <p:spPr>
          <a:xfrm>
            <a:off x="5330534" y="2770937"/>
            <a:ext cx="4985761" cy="2581775"/>
          </a:xfrm>
          <a:prstGeom prst="rect">
            <a:avLst/>
          </a:prstGeom>
        </p:spPr>
      </p:pic>
      <p:grpSp>
        <p:nvGrpSpPr>
          <p:cNvPr id="8" name="Group 7">
            <a:extLst>
              <a:ext uri="{FF2B5EF4-FFF2-40B4-BE49-F238E27FC236}">
                <a16:creationId xmlns:a16="http://schemas.microsoft.com/office/drawing/2014/main" id="{61C2B2BB-9AF7-2D1E-854E-C27C24D15DBF}"/>
              </a:ext>
            </a:extLst>
          </p:cNvPr>
          <p:cNvGrpSpPr/>
          <p:nvPr/>
        </p:nvGrpSpPr>
        <p:grpSpPr>
          <a:xfrm>
            <a:off x="8661616" y="2426337"/>
            <a:ext cx="2247900" cy="689200"/>
            <a:chOff x="9103807" y="2721048"/>
            <a:chExt cx="2371411" cy="985016"/>
          </a:xfrm>
        </p:grpSpPr>
        <p:sp>
          <p:nvSpPr>
            <p:cNvPr id="9" name="Speech Bubble: Oval 8">
              <a:extLst>
                <a:ext uri="{FF2B5EF4-FFF2-40B4-BE49-F238E27FC236}">
                  <a16:creationId xmlns:a16="http://schemas.microsoft.com/office/drawing/2014/main" id="{7B416519-B720-EDAC-8E47-EDAD194677CA}"/>
                </a:ext>
              </a:extLst>
            </p:cNvPr>
            <p:cNvSpPr/>
            <p:nvPr/>
          </p:nvSpPr>
          <p:spPr>
            <a:xfrm>
              <a:off x="9103807" y="2721048"/>
              <a:ext cx="2331218" cy="985016"/>
            </a:xfrm>
            <a:prstGeom prst="wedgeEllipseCallou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bg1"/>
                </a:solidFill>
              </a:endParaRPr>
            </a:p>
          </p:txBody>
        </p:sp>
        <p:sp>
          <p:nvSpPr>
            <p:cNvPr id="10" name="TextBox 9">
              <a:extLst>
                <a:ext uri="{FF2B5EF4-FFF2-40B4-BE49-F238E27FC236}">
                  <a16:creationId xmlns:a16="http://schemas.microsoft.com/office/drawing/2014/main" id="{3E01C913-F913-FA96-E502-420FDAE4EDD0}"/>
                </a:ext>
              </a:extLst>
            </p:cNvPr>
            <p:cNvSpPr txBox="1"/>
            <p:nvPr/>
          </p:nvSpPr>
          <p:spPr>
            <a:xfrm>
              <a:off x="9254532" y="3059668"/>
              <a:ext cx="2220686" cy="268886"/>
            </a:xfrm>
            <a:prstGeom prst="rect">
              <a:avLst/>
            </a:prstGeom>
            <a:noFill/>
            <a:effectLst>
              <a:glow rad="139700">
                <a:schemeClr val="accent1">
                  <a:satMod val="175000"/>
                  <a:alpha val="40000"/>
                </a:schemeClr>
              </a:glow>
            </a:effectLst>
          </p:spPr>
          <p:txBody>
            <a:bodyPr wrap="square" rtlCol="0">
              <a:spAutoFit/>
            </a:bodyPr>
            <a:lstStyle/>
            <a:p>
              <a:pPr algn="ctr"/>
              <a:r>
                <a:rPr lang="en-CA" sz="1200" b="1" dirty="0">
                  <a:solidFill>
                    <a:schemeClr val="bg1"/>
                  </a:solidFill>
                </a:rPr>
                <a:t>High CXPACKET wait time</a:t>
              </a:r>
            </a:p>
          </p:txBody>
        </p:sp>
      </p:grpSp>
      <p:cxnSp>
        <p:nvCxnSpPr>
          <p:cNvPr id="3" name="Connector: Curved 2">
            <a:extLst>
              <a:ext uri="{FF2B5EF4-FFF2-40B4-BE49-F238E27FC236}">
                <a16:creationId xmlns:a16="http://schemas.microsoft.com/office/drawing/2014/main" id="{43673D3B-4F7C-FEC0-7046-6BCBE5523342}"/>
              </a:ext>
            </a:extLst>
          </p:cNvPr>
          <p:cNvCxnSpPr>
            <a:cxnSpLocks/>
          </p:cNvCxnSpPr>
          <p:nvPr/>
        </p:nvCxnSpPr>
        <p:spPr>
          <a:xfrm rot="5400000">
            <a:off x="6163100" y="2339759"/>
            <a:ext cx="878374" cy="642031"/>
          </a:xfrm>
          <a:prstGeom prst="curvedConnector3">
            <a:avLst>
              <a:gd name="adj1" fmla="val 50000"/>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9CA436A0-D3A3-BFE4-B73D-248D578030DB}"/>
              </a:ext>
            </a:extLst>
          </p:cNvPr>
          <p:cNvSpPr/>
          <p:nvPr/>
        </p:nvSpPr>
        <p:spPr>
          <a:xfrm>
            <a:off x="6047003" y="1319571"/>
            <a:ext cx="1738312" cy="878375"/>
          </a:xfrm>
          <a:prstGeom prst="ellipse">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sz="900" dirty="0">
                <a:solidFill>
                  <a:srgbClr val="FF0000"/>
                </a:solidFill>
              </a:rPr>
              <a:t>Parent/Coordinating thread</a:t>
            </a:r>
          </a:p>
        </p:txBody>
      </p:sp>
      <p:grpSp>
        <p:nvGrpSpPr>
          <p:cNvPr id="19" name="Group 18">
            <a:extLst>
              <a:ext uri="{FF2B5EF4-FFF2-40B4-BE49-F238E27FC236}">
                <a16:creationId xmlns:a16="http://schemas.microsoft.com/office/drawing/2014/main" id="{80FE341E-FE3A-37CE-5BF7-0402E89CB833}"/>
              </a:ext>
            </a:extLst>
          </p:cNvPr>
          <p:cNvGrpSpPr/>
          <p:nvPr/>
        </p:nvGrpSpPr>
        <p:grpSpPr>
          <a:xfrm>
            <a:off x="10178018" y="3586596"/>
            <a:ext cx="1690851" cy="456934"/>
            <a:chOff x="9103807" y="2721048"/>
            <a:chExt cx="2371411" cy="985016"/>
          </a:xfrm>
        </p:grpSpPr>
        <p:sp>
          <p:nvSpPr>
            <p:cNvPr id="20" name="Speech Bubble: Oval 19">
              <a:extLst>
                <a:ext uri="{FF2B5EF4-FFF2-40B4-BE49-F238E27FC236}">
                  <a16:creationId xmlns:a16="http://schemas.microsoft.com/office/drawing/2014/main" id="{BC7F9E77-307E-28BF-4B68-D49FA3880C96}"/>
                </a:ext>
              </a:extLst>
            </p:cNvPr>
            <p:cNvSpPr/>
            <p:nvPr/>
          </p:nvSpPr>
          <p:spPr>
            <a:xfrm>
              <a:off x="9103807" y="2721048"/>
              <a:ext cx="2331218" cy="985016"/>
            </a:xfrm>
            <a:prstGeom prst="wedgeEllipseCallou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sz="1100">
                <a:solidFill>
                  <a:schemeClr val="bg1"/>
                </a:solidFill>
              </a:endParaRPr>
            </a:p>
          </p:txBody>
        </p:sp>
        <p:sp>
          <p:nvSpPr>
            <p:cNvPr id="21" name="TextBox 20">
              <a:extLst>
                <a:ext uri="{FF2B5EF4-FFF2-40B4-BE49-F238E27FC236}">
                  <a16:creationId xmlns:a16="http://schemas.microsoft.com/office/drawing/2014/main" id="{95AE0D01-57A6-4D2F-A9D8-27E23358C2BC}"/>
                </a:ext>
              </a:extLst>
            </p:cNvPr>
            <p:cNvSpPr txBox="1"/>
            <p:nvPr/>
          </p:nvSpPr>
          <p:spPr>
            <a:xfrm>
              <a:off x="9254532" y="3059669"/>
              <a:ext cx="2220686" cy="497606"/>
            </a:xfrm>
            <a:prstGeom prst="rect">
              <a:avLst/>
            </a:prstGeom>
            <a:noFill/>
            <a:effectLst>
              <a:glow rad="139700">
                <a:schemeClr val="accent1">
                  <a:satMod val="175000"/>
                  <a:alpha val="40000"/>
                </a:schemeClr>
              </a:glow>
            </a:effectLst>
          </p:spPr>
          <p:txBody>
            <a:bodyPr wrap="square" rtlCol="0">
              <a:spAutoFit/>
            </a:bodyPr>
            <a:lstStyle/>
            <a:p>
              <a:pPr algn="ctr"/>
              <a:r>
                <a:rPr lang="en-CA" sz="900" b="1" dirty="0">
                  <a:solidFill>
                    <a:schemeClr val="bg1"/>
                  </a:solidFill>
                </a:rPr>
                <a:t>Uneven workload</a:t>
              </a:r>
            </a:p>
          </p:txBody>
        </p:sp>
      </p:grpSp>
      <p:cxnSp>
        <p:nvCxnSpPr>
          <p:cNvPr id="22" name="Connector: Curved 21">
            <a:extLst>
              <a:ext uri="{FF2B5EF4-FFF2-40B4-BE49-F238E27FC236}">
                <a16:creationId xmlns:a16="http://schemas.microsoft.com/office/drawing/2014/main" id="{09C7DC30-F0FE-C05F-744B-3FCBAAB8CC20}"/>
              </a:ext>
            </a:extLst>
          </p:cNvPr>
          <p:cNvCxnSpPr>
            <a:cxnSpLocks/>
          </p:cNvCxnSpPr>
          <p:nvPr/>
        </p:nvCxnSpPr>
        <p:spPr>
          <a:xfrm rot="10800000">
            <a:off x="8556840" y="3664890"/>
            <a:ext cx="2153878" cy="365633"/>
          </a:xfrm>
          <a:prstGeom prst="curvedConnector3">
            <a:avLst>
              <a:gd name="adj1" fmla="val 50000"/>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Curved 23">
            <a:extLst>
              <a:ext uri="{FF2B5EF4-FFF2-40B4-BE49-F238E27FC236}">
                <a16:creationId xmlns:a16="http://schemas.microsoft.com/office/drawing/2014/main" id="{E6756FD4-6AC1-28A9-7BD5-968F8923794F}"/>
              </a:ext>
            </a:extLst>
          </p:cNvPr>
          <p:cNvCxnSpPr>
            <a:cxnSpLocks/>
            <a:stCxn id="20" idx="8"/>
          </p:cNvCxnSpPr>
          <p:nvPr/>
        </p:nvCxnSpPr>
        <p:spPr>
          <a:xfrm rot="5400000">
            <a:off x="8796321" y="2508616"/>
            <a:ext cx="274478" cy="3458540"/>
          </a:xfrm>
          <a:prstGeom prst="curvedConnector2">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Curved 26">
            <a:extLst>
              <a:ext uri="{FF2B5EF4-FFF2-40B4-BE49-F238E27FC236}">
                <a16:creationId xmlns:a16="http://schemas.microsoft.com/office/drawing/2014/main" id="{85AD661A-617D-D54D-578C-8C2723675581}"/>
              </a:ext>
            </a:extLst>
          </p:cNvPr>
          <p:cNvCxnSpPr>
            <a:cxnSpLocks/>
            <a:stCxn id="20" idx="4"/>
          </p:cNvCxnSpPr>
          <p:nvPr/>
        </p:nvCxnSpPr>
        <p:spPr>
          <a:xfrm rot="5400000">
            <a:off x="9638462" y="3338629"/>
            <a:ext cx="665752" cy="2075555"/>
          </a:xfrm>
          <a:prstGeom prst="curvedConnector2">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06244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a:extLst>
              <a:ext uri="{FF2B5EF4-FFF2-40B4-BE49-F238E27FC236}">
                <a16:creationId xmlns:a16="http://schemas.microsoft.com/office/drawing/2014/main" id="{A289C3AD-38A7-1FEE-AF55-4EE0E37B168A}"/>
              </a:ext>
            </a:extLst>
          </p:cNvPr>
          <p:cNvGraphicFramePr/>
          <p:nvPr/>
        </p:nvGraphicFramePr>
        <p:xfrm>
          <a:off x="-427323" y="1533023"/>
          <a:ext cx="5338917" cy="44097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2">
            <a:extLst>
              <a:ext uri="{FF2B5EF4-FFF2-40B4-BE49-F238E27FC236}">
                <a16:creationId xmlns:a16="http://schemas.microsoft.com/office/drawing/2014/main" id="{E47B7C2E-41BA-9637-447D-C29C4972B7BA}"/>
              </a:ext>
            </a:extLst>
          </p:cNvPr>
          <p:cNvPicPr>
            <a:picLocks noChangeAspect="1"/>
          </p:cNvPicPr>
          <p:nvPr/>
        </p:nvPicPr>
        <p:blipFill>
          <a:blip r:embed="rId8"/>
          <a:stretch>
            <a:fillRect/>
          </a:stretch>
        </p:blipFill>
        <p:spPr>
          <a:xfrm>
            <a:off x="4289278" y="1533023"/>
            <a:ext cx="7362067" cy="3871651"/>
          </a:xfrm>
          <a:prstGeom prst="rect">
            <a:avLst/>
          </a:prstGeom>
        </p:spPr>
      </p:pic>
      <p:sp>
        <p:nvSpPr>
          <p:cNvPr id="3" name="TextBox 2">
            <a:extLst>
              <a:ext uri="{FF2B5EF4-FFF2-40B4-BE49-F238E27FC236}">
                <a16:creationId xmlns:a16="http://schemas.microsoft.com/office/drawing/2014/main" id="{1974FB7E-2C19-610A-B4A2-36E063390937}"/>
              </a:ext>
            </a:extLst>
          </p:cNvPr>
          <p:cNvSpPr txBox="1"/>
          <p:nvPr/>
        </p:nvSpPr>
        <p:spPr>
          <a:xfrm>
            <a:off x="282283" y="621066"/>
            <a:ext cx="8013991" cy="523220"/>
          </a:xfrm>
          <a:prstGeom prst="rect">
            <a:avLst/>
          </a:prstGeom>
          <a:noFill/>
        </p:spPr>
        <p:txBody>
          <a:bodyPr wrap="square" rtlCol="0">
            <a:spAutoFit/>
          </a:bodyPr>
          <a:lstStyle/>
          <a:p>
            <a:r>
              <a:rPr lang="en-CA" sz="2800" b="1" dirty="0">
                <a:solidFill>
                  <a:srgbClr val="FF0000"/>
                </a:solidFill>
                <a:latin typeface="Segoe UI" panose="020B0502040204020203" pitchFamily="34" charset="0"/>
                <a:cs typeface="Segoe UI" panose="020B0502040204020203" pitchFamily="34" charset="0"/>
              </a:rPr>
              <a:t>What’s the right MAXDOP setting?</a:t>
            </a:r>
            <a:endParaRPr lang="en-CA" sz="2800" dirty="0">
              <a:solidFill>
                <a:srgbClr val="FF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041917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4791</TotalTime>
  <Words>1983</Words>
  <Application>Microsoft Office PowerPoint</Application>
  <PresentationFormat>Widescreen</PresentationFormat>
  <Paragraphs>241</Paragraphs>
  <Slides>14</Slides>
  <Notes>11</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14</vt:i4>
      </vt:variant>
    </vt:vector>
  </HeadingPairs>
  <TitlesOfParts>
    <vt:vector size="29" baseType="lpstr">
      <vt:lpstr>Aptos</vt:lpstr>
      <vt:lpstr>Aptos Display</vt:lpstr>
      <vt:lpstr>Arial</vt:lpstr>
      <vt:lpstr>Calibri</vt:lpstr>
      <vt:lpstr>Comic Sans MS</vt:lpstr>
      <vt:lpstr>Consolas</vt:lpstr>
      <vt:lpstr>Courier New</vt:lpstr>
      <vt:lpstr>SabonLTStd-Bold</vt:lpstr>
      <vt:lpstr>SabonLTStd-Italic</vt:lpstr>
      <vt:lpstr>SabonLTStd-Roman</vt:lpstr>
      <vt:lpstr>Segoe UI</vt:lpstr>
      <vt:lpstr>Segoe UI Semibold</vt:lpstr>
      <vt:lpstr>Wingdings</vt:lpstr>
      <vt:lpstr>Office Theme</vt:lpstr>
      <vt:lpstr>1_Worksho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Almirante (JDA PARTNERS TECHNICAL SERVICE)</dc:creator>
  <cp:lastModifiedBy>Mark Almirante (JDA PARTNERS TECHNICAL SERVICE)</cp:lastModifiedBy>
  <cp:revision>2</cp:revision>
  <dcterms:created xsi:type="dcterms:W3CDTF">2024-02-21T15:12:40Z</dcterms:created>
  <dcterms:modified xsi:type="dcterms:W3CDTF">2024-03-22T15:29:17Z</dcterms:modified>
</cp:coreProperties>
</file>